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sldIdLst>
    <p:sldId id="272" r:id="rId2"/>
    <p:sldId id="273" r:id="rId3"/>
    <p:sldId id="274" r:id="rId4"/>
    <p:sldId id="275" r:id="rId5"/>
    <p:sldId id="276" r:id="rId6"/>
    <p:sldId id="277" r:id="rId7"/>
    <p:sldId id="278" r:id="rId8"/>
    <p:sldId id="279" r:id="rId9"/>
  </p:sldIdLst>
  <p:sldSz cx="7556500" cy="10693400"/>
  <p:notesSz cx="6858000" cy="9144000"/>
  <p:embeddedFontLst>
    <p:embeddedFont>
      <p:font typeface="Calibri" panose="020F0502020204030204" pitchFamily="34" charset="0"/>
      <p:regular r:id="rId10"/>
      <p:bold r:id="rId11"/>
      <p:italic r:id="rId12"/>
      <p:boldItalic r:id="rId13"/>
    </p:embeddedFont>
    <p:embeddedFont>
      <p:font typeface="DM Sans" pitchFamily="2" charset="0"/>
      <p:regular r:id="rId14"/>
      <p:bold r:id="rId15"/>
      <p:italic r:id="rId16"/>
      <p:boldItalic r:id="rId17"/>
    </p:embeddedFont>
    <p:embeddedFont>
      <p:font typeface="Poppins" panose="00000500000000000000" pitchFamily="2" charset="0"/>
      <p:regular r:id="rId18"/>
      <p:bold r:id="rId19"/>
      <p:italic r:id="rId20"/>
      <p:boldItalic r:id="rId21"/>
    </p:embeddedFont>
    <p:embeddedFont>
      <p:font typeface="Red Hat Display" panose="02010303040201060303" pitchFamily="2" charset="0"/>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217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5" autoAdjust="0"/>
    <p:restoredTop sz="94564" autoAdjust="0"/>
  </p:normalViewPr>
  <p:slideViewPr>
    <p:cSldViewPr>
      <p:cViewPr varScale="1">
        <p:scale>
          <a:sx n="75" d="100"/>
          <a:sy n="75" d="100"/>
        </p:scale>
        <p:origin x="2702" y="7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4.fntdata"/><Relationship Id="rId18" Type="http://schemas.openxmlformats.org/officeDocument/2006/relationships/font" Target="fonts/font9.fntdata"/><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font" Target="fonts/font12.fntdata"/><Relationship Id="rId7" Type="http://schemas.openxmlformats.org/officeDocument/2006/relationships/slide" Target="slides/slide6.xml"/><Relationship Id="rId12" Type="http://schemas.openxmlformats.org/officeDocument/2006/relationships/font" Target="fonts/font3.fntdata"/><Relationship Id="rId17" Type="http://schemas.openxmlformats.org/officeDocument/2006/relationships/font" Target="fonts/font8.fntdata"/><Relationship Id="rId25" Type="http://schemas.openxmlformats.org/officeDocument/2006/relationships/font" Target="fonts/font16.fntdata"/><Relationship Id="rId2" Type="http://schemas.openxmlformats.org/officeDocument/2006/relationships/slide" Target="slides/slide1.xml"/><Relationship Id="rId16" Type="http://schemas.openxmlformats.org/officeDocument/2006/relationships/font" Target="fonts/font7.fntdata"/><Relationship Id="rId20" Type="http://schemas.openxmlformats.org/officeDocument/2006/relationships/font" Target="fonts/font11.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font" Target="fonts/font2.fntdata"/><Relationship Id="rId24" Type="http://schemas.openxmlformats.org/officeDocument/2006/relationships/font" Target="fonts/font15.fntdata"/><Relationship Id="rId5" Type="http://schemas.openxmlformats.org/officeDocument/2006/relationships/slide" Target="slides/slide4.xml"/><Relationship Id="rId15" Type="http://schemas.openxmlformats.org/officeDocument/2006/relationships/font" Target="fonts/font6.fntdata"/><Relationship Id="rId23" Type="http://schemas.openxmlformats.org/officeDocument/2006/relationships/font" Target="fonts/font14.fntdata"/><Relationship Id="rId28" Type="http://schemas.openxmlformats.org/officeDocument/2006/relationships/theme" Target="theme/theme1.xml"/><Relationship Id="rId10" Type="http://schemas.openxmlformats.org/officeDocument/2006/relationships/font" Target="fonts/font1.fntdata"/><Relationship Id="rId19" Type="http://schemas.openxmlformats.org/officeDocument/2006/relationships/font" Target="fonts/font10.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5.fntdata"/><Relationship Id="rId22" Type="http://schemas.openxmlformats.org/officeDocument/2006/relationships/font" Target="fonts/font13.fntdata"/><Relationship Id="rId27"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jpe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sv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sv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image" Target="../media/image12.jpeg"/><Relationship Id="rId7"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Layout" Target="../slideLayouts/slideLayout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0.sv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5.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4.png"/><Relationship Id="rId2" Type="http://schemas.openxmlformats.org/officeDocument/2006/relationships/slideLayout" Target="../slideLayouts/slideLayout7.xml"/><Relationship Id="rId16" Type="http://schemas.openxmlformats.org/officeDocument/2006/relationships/image" Target="../media/image2.svg"/><Relationship Id="rId1" Type="http://schemas.openxmlformats.org/officeDocument/2006/relationships/tags" Target="../tags/tag4.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1.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 Id="rId14" Type="http://schemas.openxmlformats.org/officeDocument/2006/relationships/image" Target="../media/image26.sv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21722"/>
        </a:solidFill>
        <a:effectLst/>
      </p:bgPr>
    </p:bg>
    <p:spTree>
      <p:nvGrpSpPr>
        <p:cNvPr id="1" name=""/>
        <p:cNvGrpSpPr/>
        <p:nvPr/>
      </p:nvGrpSpPr>
      <p:grpSpPr>
        <a:xfrm>
          <a:off x="0" y="0"/>
          <a:ext cx="0" cy="0"/>
          <a:chOff x="0" y="0"/>
          <a:chExt cx="0" cy="0"/>
        </a:xfrm>
      </p:grpSpPr>
      <p:grpSp>
        <p:nvGrpSpPr>
          <p:cNvPr id="12" name="Group 7 - Page 1">
            <a:extLst>
              <a:ext uri="{FF2B5EF4-FFF2-40B4-BE49-F238E27FC236}">
                <a16:creationId xmlns:a16="http://schemas.microsoft.com/office/drawing/2014/main" id="{258068F9-281C-192D-23CD-A31CF78FE394}"/>
              </a:ext>
            </a:extLst>
          </p:cNvPr>
          <p:cNvGrpSpPr/>
          <p:nvPr/>
        </p:nvGrpSpPr>
        <p:grpSpPr>
          <a:xfrm>
            <a:off x="0" y="877444"/>
            <a:ext cx="7560000" cy="9293259"/>
            <a:chOff x="0" y="877444"/>
            <a:chExt cx="7560000" cy="9293259"/>
          </a:xfrm>
        </p:grpSpPr>
        <p:sp>
          <p:nvSpPr>
            <p:cNvPr id="5" name="TextBox 5"/>
            <p:cNvSpPr txBox="1"/>
            <p:nvPr/>
          </p:nvSpPr>
          <p:spPr>
            <a:xfrm>
              <a:off x="4418437" y="9749882"/>
              <a:ext cx="2383612" cy="420821"/>
            </a:xfrm>
            <a:prstGeom prst="rect">
              <a:avLst/>
            </a:prstGeom>
          </p:spPr>
          <p:txBody>
            <a:bodyPr lIns="0" tIns="0" rIns="0" bIns="0" rtlCol="0" anchor="t">
              <a:spAutoFit/>
            </a:bodyPr>
            <a:lstStyle/>
            <a:p>
              <a:pPr marL="0" lvl="0" indent="0" algn="r">
                <a:lnSpc>
                  <a:spcPts val="1079"/>
                </a:lnSpc>
                <a:spcBef>
                  <a:spcPct val="0"/>
                </a:spcBef>
              </a:pPr>
              <a:r>
                <a:rPr lang="en-US" sz="899" u="none" strike="noStrike" dirty="0">
                  <a:solidFill>
                    <a:srgbClr val="FFFFFF"/>
                  </a:solidFill>
                  <a:latin typeface="DM Sans" pitchFamily="2" charset="0"/>
                </a:rPr>
                <a:t>123 Anywhere St., Any City</a:t>
              </a:r>
            </a:p>
            <a:p>
              <a:pPr marL="0" lvl="0" indent="0" algn="r">
                <a:lnSpc>
                  <a:spcPts val="1079"/>
                </a:lnSpc>
                <a:spcBef>
                  <a:spcPct val="0"/>
                </a:spcBef>
              </a:pPr>
              <a:r>
                <a:rPr lang="en-US" sz="899" u="none" strike="noStrike" dirty="0">
                  <a:solidFill>
                    <a:srgbClr val="FFFFFF"/>
                  </a:solidFill>
                  <a:latin typeface="DM Sans" pitchFamily="2" charset="0"/>
                </a:rPr>
                <a:t>+123-456-7890</a:t>
              </a:r>
            </a:p>
            <a:p>
              <a:pPr marL="0" lvl="0" indent="0" algn="r">
                <a:lnSpc>
                  <a:spcPts val="1079"/>
                </a:lnSpc>
                <a:spcBef>
                  <a:spcPct val="0"/>
                </a:spcBef>
              </a:pPr>
              <a:r>
                <a:rPr lang="en-US" sz="899" u="none" strike="noStrike" dirty="0">
                  <a:solidFill>
                    <a:srgbClr val="FFFFFF"/>
                  </a:solidFill>
                  <a:latin typeface="DM Sans" pitchFamily="2" charset="0"/>
                </a:rPr>
                <a:t>www.Quirkifystudio.com</a:t>
              </a:r>
            </a:p>
          </p:txBody>
        </p:sp>
        <p:sp>
          <p:nvSpPr>
            <p:cNvPr id="7" name="TextBox 7"/>
            <p:cNvSpPr txBox="1"/>
            <p:nvPr/>
          </p:nvSpPr>
          <p:spPr>
            <a:xfrm>
              <a:off x="1344124" y="9708486"/>
              <a:ext cx="1191707" cy="461665"/>
            </a:xfrm>
            <a:prstGeom prst="rect">
              <a:avLst/>
            </a:prstGeom>
          </p:spPr>
          <p:txBody>
            <a:bodyPr lIns="0" tIns="0" rIns="0" bIns="0" rtlCol="0" anchor="t">
              <a:spAutoFit/>
            </a:bodyPr>
            <a:lstStyle/>
            <a:p>
              <a:pPr>
                <a:lnSpc>
                  <a:spcPts val="1817"/>
                </a:lnSpc>
              </a:pPr>
              <a:r>
                <a:rPr lang="en-US" sz="1502" b="1" dirty="0">
                  <a:solidFill>
                    <a:srgbClr val="FFFFFF"/>
                  </a:solidFill>
                  <a:latin typeface="Red Hat Display" panose="02010303040201060303" pitchFamily="2" charset="0"/>
                </a:rPr>
                <a:t>QUIRKIFY </a:t>
              </a:r>
            </a:p>
            <a:p>
              <a:pPr>
                <a:lnSpc>
                  <a:spcPts val="1817"/>
                </a:lnSpc>
              </a:pPr>
              <a:r>
                <a:rPr lang="en-US" sz="1502" b="1" dirty="0">
                  <a:solidFill>
                    <a:srgbClr val="FFFFFF"/>
                  </a:solidFill>
                  <a:latin typeface="Red Hat Display" panose="02010303040201060303" pitchFamily="2" charset="0"/>
                </a:rPr>
                <a:t>STUDIO</a:t>
              </a:r>
            </a:p>
          </p:txBody>
        </p:sp>
        <p:sp>
          <p:nvSpPr>
            <p:cNvPr id="6" name="Freeform 6"/>
            <p:cNvSpPr/>
            <p:nvPr/>
          </p:nvSpPr>
          <p:spPr>
            <a:xfrm>
              <a:off x="754049" y="9708486"/>
              <a:ext cx="427680" cy="427680"/>
            </a:xfrm>
            <a:custGeom>
              <a:avLst/>
              <a:gdLst/>
              <a:ahLst/>
              <a:cxnLst/>
              <a:rect l="l" t="t" r="r" b="b"/>
              <a:pathLst>
                <a:path w="570240" h="570240">
                  <a:moveTo>
                    <a:pt x="0" y="0"/>
                  </a:moveTo>
                  <a:lnTo>
                    <a:pt x="570240" y="0"/>
                  </a:lnTo>
                  <a:lnTo>
                    <a:pt x="570240" y="570240"/>
                  </a:lnTo>
                  <a:lnTo>
                    <a:pt x="0" y="57024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dirty="0"/>
            </a:p>
          </p:txBody>
        </p:sp>
        <p:pic>
          <p:nvPicPr>
            <p:cNvPr id="3" name="Picture 3"/>
            <p:cNvPicPr>
              <a:picLocks noChangeAspect="1"/>
            </p:cNvPicPr>
            <p:nvPr/>
          </p:nvPicPr>
          <p:blipFill>
            <a:blip r:embed="rId4"/>
            <a:srcRect l="1057" r="6190"/>
            <a:stretch>
              <a:fillRect/>
            </a:stretch>
          </p:blipFill>
          <p:spPr>
            <a:xfrm>
              <a:off x="0" y="3824907"/>
              <a:ext cx="7560000" cy="5430475"/>
            </a:xfrm>
            <a:prstGeom prst="rect">
              <a:avLst/>
            </a:prstGeom>
          </p:spPr>
        </p:pic>
        <p:sp>
          <p:nvSpPr>
            <p:cNvPr id="10" name="TextBox 10"/>
            <p:cNvSpPr txBox="1"/>
            <p:nvPr/>
          </p:nvSpPr>
          <p:spPr>
            <a:xfrm>
              <a:off x="756000" y="3040596"/>
              <a:ext cx="6048000" cy="230832"/>
            </a:xfrm>
            <a:prstGeom prst="rect">
              <a:avLst/>
            </a:prstGeom>
          </p:spPr>
          <p:txBody>
            <a:bodyPr lIns="0" tIns="0" rIns="0" bIns="0" rtlCol="0" anchor="t">
              <a:spAutoFit/>
            </a:bodyPr>
            <a:lstStyle/>
            <a:p>
              <a:pPr marL="0" lvl="0" indent="0" algn="ctr">
                <a:lnSpc>
                  <a:spcPts val="1817"/>
                </a:lnSpc>
                <a:spcBef>
                  <a:spcPct val="0"/>
                </a:spcBef>
              </a:pPr>
              <a:r>
                <a:rPr lang="en-US" sz="1502" b="1" u="none" strike="noStrike" dirty="0">
                  <a:solidFill>
                    <a:srgbClr val="D1FF95"/>
                  </a:solidFill>
                  <a:latin typeface="Red Hat Display" panose="02010303040201060303" pitchFamily="2" charset="0"/>
                </a:rPr>
                <a:t>ENHANCING COMMUNICATION, ACHIEVING SYNERGY</a:t>
              </a:r>
            </a:p>
          </p:txBody>
        </p:sp>
        <p:sp>
          <p:nvSpPr>
            <p:cNvPr id="9" name="TextBox 9"/>
            <p:cNvSpPr txBox="1"/>
            <p:nvPr/>
          </p:nvSpPr>
          <p:spPr>
            <a:xfrm>
              <a:off x="756000" y="877444"/>
              <a:ext cx="6048000" cy="2163153"/>
            </a:xfrm>
            <a:prstGeom prst="rect">
              <a:avLst/>
            </a:prstGeom>
          </p:spPr>
          <p:txBody>
            <a:bodyPr lIns="0" tIns="0" rIns="0" bIns="0" rtlCol="0" anchor="t">
              <a:spAutoFit/>
            </a:bodyPr>
            <a:lstStyle/>
            <a:p>
              <a:pPr marL="0" lvl="0" indent="0" algn="ctr">
                <a:lnSpc>
                  <a:spcPts val="8199"/>
                </a:lnSpc>
              </a:pPr>
              <a:r>
                <a:rPr lang="en-US" sz="8199" b="1" u="none" strike="noStrike" dirty="0">
                  <a:solidFill>
                    <a:srgbClr val="FFFFFF"/>
                  </a:solidFill>
                  <a:latin typeface="Red Hat Display" panose="02010303040201060303" pitchFamily="2" charset="0"/>
                </a:rPr>
                <a:t>TRAINING BOOKLET</a:t>
              </a:r>
            </a:p>
          </p:txBody>
        </p:sp>
        <p:sp>
          <p:nvSpPr>
            <p:cNvPr id="11" name="TemplateLAB"/>
            <p:cNvSpPr/>
            <p:nvPr/>
          </p:nvSpPr>
          <p:spPr>
            <a:xfrm>
              <a:off x="3413970" y="10042856"/>
              <a:ext cx="732059" cy="120790"/>
            </a:xfrm>
            <a:custGeom>
              <a:avLst/>
              <a:gdLst/>
              <a:ahLst/>
              <a:cxnLst/>
              <a:rect l="l" t="t" r="r" b="b"/>
              <a:pathLst>
                <a:path w="732059" h="120790">
                  <a:moveTo>
                    <a:pt x="0" y="0"/>
                  </a:moveTo>
                  <a:lnTo>
                    <a:pt x="732060" y="0"/>
                  </a:lnTo>
                  <a:lnTo>
                    <a:pt x="732060" y="120790"/>
                  </a:lnTo>
                  <a:lnTo>
                    <a:pt x="0" y="12079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dirty="0"/>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121722"/>
        </a:solidFill>
        <a:effectLst/>
      </p:bgPr>
    </p:bg>
    <p:spTree>
      <p:nvGrpSpPr>
        <p:cNvPr id="1" name=""/>
        <p:cNvGrpSpPr/>
        <p:nvPr/>
      </p:nvGrpSpPr>
      <p:grpSpPr>
        <a:xfrm>
          <a:off x="0" y="0"/>
          <a:ext cx="0" cy="0"/>
          <a:chOff x="0" y="0"/>
          <a:chExt cx="0" cy="0"/>
        </a:xfrm>
      </p:grpSpPr>
      <p:grpSp>
        <p:nvGrpSpPr>
          <p:cNvPr id="44" name="Group 7 - Page 2">
            <a:extLst>
              <a:ext uri="{FF2B5EF4-FFF2-40B4-BE49-F238E27FC236}">
                <a16:creationId xmlns:a16="http://schemas.microsoft.com/office/drawing/2014/main" id="{EADE2F3C-F8C3-F45A-91AD-D798AED921E2}"/>
              </a:ext>
            </a:extLst>
          </p:cNvPr>
          <p:cNvGrpSpPr/>
          <p:nvPr/>
        </p:nvGrpSpPr>
        <p:grpSpPr>
          <a:xfrm>
            <a:off x="756000" y="756000"/>
            <a:ext cx="6535684" cy="9416022"/>
            <a:chOff x="756000" y="756000"/>
            <a:chExt cx="6535684" cy="9416022"/>
          </a:xfrm>
        </p:grpSpPr>
        <p:sp>
          <p:nvSpPr>
            <p:cNvPr id="30" name="TextBox 30"/>
            <p:cNvSpPr txBox="1"/>
            <p:nvPr/>
          </p:nvSpPr>
          <p:spPr>
            <a:xfrm>
              <a:off x="756000" y="10015056"/>
              <a:ext cx="986324" cy="156966"/>
            </a:xfrm>
            <a:prstGeom prst="rect">
              <a:avLst/>
            </a:prstGeom>
          </p:spPr>
          <p:txBody>
            <a:bodyPr lIns="0" tIns="0" rIns="0" bIns="0" rtlCol="0" anchor="t">
              <a:spAutoFit/>
            </a:bodyPr>
            <a:lstStyle/>
            <a:p>
              <a:pPr marL="0" lvl="0" indent="0" algn="just">
                <a:lnSpc>
                  <a:spcPts val="1260"/>
                </a:lnSpc>
                <a:spcBef>
                  <a:spcPct val="0"/>
                </a:spcBef>
              </a:pPr>
              <a:r>
                <a:rPr lang="en-US" sz="900" b="1" dirty="0">
                  <a:solidFill>
                    <a:srgbClr val="FFFFFF"/>
                  </a:solidFill>
                  <a:latin typeface="Red Hat Display" panose="02010303040201060303" pitchFamily="2" charset="0"/>
                </a:rPr>
                <a:t>PAGE  2 </a:t>
              </a:r>
              <a:r>
                <a:rPr lang="en-US" sz="900" b="1" dirty="0">
                  <a:solidFill>
                    <a:srgbClr val="FFFFFF"/>
                  </a:solidFill>
                  <a:latin typeface="Red Hat Display"/>
                </a:rPr>
                <a:t>I</a:t>
              </a:r>
            </a:p>
          </p:txBody>
        </p:sp>
        <p:grpSp>
          <p:nvGrpSpPr>
            <p:cNvPr id="43" name="Group 42">
              <a:extLst>
                <a:ext uri="{FF2B5EF4-FFF2-40B4-BE49-F238E27FC236}">
                  <a16:creationId xmlns:a16="http://schemas.microsoft.com/office/drawing/2014/main" id="{A14617D7-8C31-AEC4-93EC-6EC5E3904C52}"/>
                </a:ext>
              </a:extLst>
            </p:cNvPr>
            <p:cNvGrpSpPr/>
            <p:nvPr/>
          </p:nvGrpSpPr>
          <p:grpSpPr>
            <a:xfrm>
              <a:off x="3436141" y="1885405"/>
              <a:ext cx="3855543" cy="7842534"/>
              <a:chOff x="3436141" y="1885405"/>
              <a:chExt cx="3855543" cy="7842534"/>
            </a:xfrm>
          </p:grpSpPr>
          <p:grpSp>
            <p:nvGrpSpPr>
              <p:cNvPr id="42" name="Group 41">
                <a:extLst>
                  <a:ext uri="{FF2B5EF4-FFF2-40B4-BE49-F238E27FC236}">
                    <a16:creationId xmlns:a16="http://schemas.microsoft.com/office/drawing/2014/main" id="{68AFF1AF-D373-3843-9EDB-690F7C0A90C7}"/>
                  </a:ext>
                </a:extLst>
              </p:cNvPr>
              <p:cNvGrpSpPr/>
              <p:nvPr/>
            </p:nvGrpSpPr>
            <p:grpSpPr>
              <a:xfrm>
                <a:off x="3436141" y="9096814"/>
                <a:ext cx="3367859" cy="631125"/>
                <a:chOff x="3436141" y="9096814"/>
                <a:chExt cx="3367859" cy="631125"/>
              </a:xfrm>
            </p:grpSpPr>
            <p:sp>
              <p:nvSpPr>
                <p:cNvPr id="6" name="TextBox 6"/>
                <p:cNvSpPr txBox="1"/>
                <p:nvPr/>
              </p:nvSpPr>
              <p:spPr>
                <a:xfrm>
                  <a:off x="3436141" y="9096814"/>
                  <a:ext cx="687719" cy="487313"/>
                </a:xfrm>
                <a:prstGeom prst="rect">
                  <a:avLst/>
                </a:prstGeom>
              </p:spPr>
              <p:txBody>
                <a:bodyPr lIns="0" tIns="0" rIns="0" bIns="0" rtlCol="0" anchor="t">
                  <a:spAutoFit/>
                </a:bodyPr>
                <a:lstStyle/>
                <a:p>
                  <a:pPr algn="ctr">
                    <a:lnSpc>
                      <a:spcPts val="3784"/>
                    </a:lnSpc>
                  </a:pPr>
                  <a:r>
                    <a:rPr lang="en-US" sz="3300" b="1" dirty="0">
                      <a:solidFill>
                        <a:srgbClr val="D1FF95"/>
                      </a:solidFill>
                      <a:latin typeface="Red Hat Display" panose="02010303040201060303" pitchFamily="2" charset="0"/>
                    </a:rPr>
                    <a:t>08</a:t>
                  </a:r>
                </a:p>
              </p:txBody>
            </p:sp>
            <p:sp>
              <p:nvSpPr>
                <p:cNvPr id="7" name="TextBox 7"/>
                <p:cNvSpPr txBox="1"/>
                <p:nvPr/>
              </p:nvSpPr>
              <p:spPr>
                <a:xfrm>
                  <a:off x="4531718" y="9172168"/>
                  <a:ext cx="2272282" cy="205184"/>
                </a:xfrm>
                <a:prstGeom prst="rect">
                  <a:avLst/>
                </a:prstGeom>
              </p:spPr>
              <p:txBody>
                <a:bodyPr lIns="0" tIns="0" rIns="0" bIns="0" rtlCol="0" anchor="t">
                  <a:spAutoFit/>
                </a:bodyPr>
                <a:lstStyle/>
                <a:p>
                  <a:pPr marL="0" lvl="0" indent="0" algn="l">
                    <a:lnSpc>
                      <a:spcPts val="1596"/>
                    </a:lnSpc>
                    <a:spcBef>
                      <a:spcPct val="0"/>
                    </a:spcBef>
                  </a:pPr>
                  <a:r>
                    <a:rPr lang="en-US" sz="1400" b="1" dirty="0">
                      <a:solidFill>
                        <a:srgbClr val="D1FF95"/>
                      </a:solidFill>
                      <a:latin typeface="Red Hat Display" panose="02010303040201060303" pitchFamily="2" charset="0"/>
                    </a:rPr>
                    <a:t>Contact Information</a:t>
                  </a:r>
                </a:p>
              </p:txBody>
            </p:sp>
            <p:sp>
              <p:nvSpPr>
                <p:cNvPr id="8" name="TextBox 8"/>
                <p:cNvSpPr txBox="1"/>
                <p:nvPr/>
              </p:nvSpPr>
              <p:spPr>
                <a:xfrm>
                  <a:off x="4543196" y="9425740"/>
                  <a:ext cx="1656165" cy="302199"/>
                </a:xfrm>
                <a:prstGeom prst="rect">
                  <a:avLst/>
                </a:prstGeom>
              </p:spPr>
              <p:txBody>
                <a:bodyPr lIns="0" tIns="0" rIns="0" bIns="0" rtlCol="0" anchor="t">
                  <a:spAutoFit/>
                </a:bodyPr>
                <a:lstStyle/>
                <a:p>
                  <a:pPr marL="0" lvl="0" indent="0" algn="l">
                    <a:lnSpc>
                      <a:spcPts val="1169"/>
                    </a:lnSpc>
                  </a:pPr>
                  <a:r>
                    <a:rPr lang="en-US" sz="899" u="none" strike="noStrike" dirty="0">
                      <a:solidFill>
                        <a:srgbClr val="FFFFFF">
                          <a:alpha val="94902"/>
                        </a:srgbClr>
                      </a:solidFill>
                      <a:latin typeface="DM Sans" pitchFamily="2" charset="0"/>
                    </a:rPr>
                    <a:t>Reach out to us easily through our provided contact details</a:t>
                  </a:r>
                </a:p>
              </p:txBody>
            </p:sp>
          </p:grpSp>
          <p:grpSp>
            <p:nvGrpSpPr>
              <p:cNvPr id="41" name="Group 40">
                <a:extLst>
                  <a:ext uri="{FF2B5EF4-FFF2-40B4-BE49-F238E27FC236}">
                    <a16:creationId xmlns:a16="http://schemas.microsoft.com/office/drawing/2014/main" id="{B611FD0E-8090-2C23-CCD0-0923DC5F0E50}"/>
                  </a:ext>
                </a:extLst>
              </p:cNvPr>
              <p:cNvGrpSpPr/>
              <p:nvPr/>
            </p:nvGrpSpPr>
            <p:grpSpPr>
              <a:xfrm>
                <a:off x="3436141" y="7654532"/>
                <a:ext cx="3855543" cy="785013"/>
                <a:chOff x="3436141" y="7654532"/>
                <a:chExt cx="3855543" cy="785013"/>
              </a:xfrm>
            </p:grpSpPr>
            <p:sp>
              <p:nvSpPr>
                <p:cNvPr id="9" name="TextBox 9"/>
                <p:cNvSpPr txBox="1"/>
                <p:nvPr/>
              </p:nvSpPr>
              <p:spPr>
                <a:xfrm>
                  <a:off x="3436141" y="7654532"/>
                  <a:ext cx="687719" cy="487313"/>
                </a:xfrm>
                <a:prstGeom prst="rect">
                  <a:avLst/>
                </a:prstGeom>
              </p:spPr>
              <p:txBody>
                <a:bodyPr lIns="0" tIns="0" rIns="0" bIns="0" rtlCol="0" anchor="t">
                  <a:normAutofit/>
                </a:bodyPr>
                <a:lstStyle/>
                <a:p>
                  <a:pPr algn="ctr">
                    <a:lnSpc>
                      <a:spcPts val="3784"/>
                    </a:lnSpc>
                  </a:pPr>
                  <a:r>
                    <a:rPr lang="en-US" sz="3300" b="1" dirty="0">
                      <a:solidFill>
                        <a:srgbClr val="D1FF95"/>
                      </a:solidFill>
                      <a:latin typeface="Red Hat Display" panose="02010303040201060303" pitchFamily="2" charset="0"/>
                    </a:rPr>
                    <a:t>07</a:t>
                  </a:r>
                </a:p>
              </p:txBody>
            </p:sp>
            <p:sp>
              <p:nvSpPr>
                <p:cNvPr id="10" name="TextBox 10"/>
                <p:cNvSpPr txBox="1"/>
                <p:nvPr/>
              </p:nvSpPr>
              <p:spPr>
                <a:xfrm>
                  <a:off x="4531718" y="7729886"/>
                  <a:ext cx="2759966" cy="205184"/>
                </a:xfrm>
                <a:prstGeom prst="rect">
                  <a:avLst/>
                </a:prstGeom>
              </p:spPr>
              <p:txBody>
                <a:bodyPr lIns="0" tIns="0" rIns="0" bIns="0" rtlCol="0" anchor="t">
                  <a:spAutoFit/>
                </a:bodyPr>
                <a:lstStyle/>
                <a:p>
                  <a:pPr marL="0" lvl="0" indent="0" algn="l">
                    <a:lnSpc>
                      <a:spcPts val="1596"/>
                    </a:lnSpc>
                    <a:spcBef>
                      <a:spcPct val="0"/>
                    </a:spcBef>
                  </a:pPr>
                  <a:r>
                    <a:rPr lang="en-US" sz="1400" b="1" dirty="0">
                      <a:solidFill>
                        <a:srgbClr val="D1FF95"/>
                      </a:solidFill>
                      <a:latin typeface="Red Hat Display" panose="02010303040201060303" pitchFamily="2" charset="0"/>
                    </a:rPr>
                    <a:t>Time Management</a:t>
                  </a:r>
                </a:p>
              </p:txBody>
            </p:sp>
            <p:sp>
              <p:nvSpPr>
                <p:cNvPr id="11" name="TextBox 11"/>
                <p:cNvSpPr txBox="1"/>
                <p:nvPr/>
              </p:nvSpPr>
              <p:spPr>
                <a:xfrm>
                  <a:off x="4543196" y="7983458"/>
                  <a:ext cx="1656165" cy="456087"/>
                </a:xfrm>
                <a:prstGeom prst="rect">
                  <a:avLst/>
                </a:prstGeom>
              </p:spPr>
              <p:txBody>
                <a:bodyPr lIns="0" tIns="0" rIns="0" bIns="0" rtlCol="0" anchor="t">
                  <a:spAutoFit/>
                </a:bodyPr>
                <a:lstStyle/>
                <a:p>
                  <a:pPr>
                    <a:lnSpc>
                      <a:spcPts val="1169"/>
                    </a:lnSpc>
                  </a:pPr>
                  <a:r>
                    <a:rPr lang="en-US" sz="899" dirty="0">
                      <a:solidFill>
                        <a:srgbClr val="FFFFFF">
                          <a:alpha val="94902"/>
                        </a:srgbClr>
                      </a:solidFill>
                      <a:latin typeface="DM Sans" pitchFamily="2" charset="0"/>
                    </a:rPr>
                    <a:t>Improve efficiency with</a:t>
                  </a:r>
                </a:p>
                <a:p>
                  <a:pPr marL="0" lvl="0" indent="0" algn="l">
                    <a:lnSpc>
                      <a:spcPts val="1169"/>
                    </a:lnSpc>
                  </a:pPr>
                  <a:r>
                    <a:rPr lang="en-US" sz="899" dirty="0">
                      <a:solidFill>
                        <a:srgbClr val="FFFFFF">
                          <a:alpha val="94902"/>
                        </a:srgbClr>
                      </a:solidFill>
                      <a:latin typeface="DM Sans" pitchFamily="2" charset="0"/>
                    </a:rPr>
                    <a:t>time skills and smart task prioritization for productivity</a:t>
                  </a:r>
                </a:p>
              </p:txBody>
            </p:sp>
          </p:grpSp>
          <p:grpSp>
            <p:nvGrpSpPr>
              <p:cNvPr id="40" name="Group 39">
                <a:extLst>
                  <a:ext uri="{FF2B5EF4-FFF2-40B4-BE49-F238E27FC236}">
                    <a16:creationId xmlns:a16="http://schemas.microsoft.com/office/drawing/2014/main" id="{DC4430DA-0F4A-A55E-336C-36535F96C5DB}"/>
                  </a:ext>
                </a:extLst>
              </p:cNvPr>
              <p:cNvGrpSpPr/>
              <p:nvPr/>
            </p:nvGrpSpPr>
            <p:grpSpPr>
              <a:xfrm>
                <a:off x="3436141" y="6212250"/>
                <a:ext cx="3367859" cy="785013"/>
                <a:chOff x="3436141" y="6212250"/>
                <a:chExt cx="3367859" cy="785013"/>
              </a:xfrm>
            </p:grpSpPr>
            <p:sp>
              <p:nvSpPr>
                <p:cNvPr id="12" name="TextBox 12"/>
                <p:cNvSpPr txBox="1"/>
                <p:nvPr/>
              </p:nvSpPr>
              <p:spPr>
                <a:xfrm>
                  <a:off x="3436141" y="6212250"/>
                  <a:ext cx="687719" cy="487313"/>
                </a:xfrm>
                <a:prstGeom prst="rect">
                  <a:avLst/>
                </a:prstGeom>
              </p:spPr>
              <p:txBody>
                <a:bodyPr lIns="0" tIns="0" rIns="0" bIns="0" rtlCol="0" anchor="t">
                  <a:normAutofit/>
                </a:bodyPr>
                <a:lstStyle/>
                <a:p>
                  <a:pPr algn="ctr">
                    <a:lnSpc>
                      <a:spcPts val="3784"/>
                    </a:lnSpc>
                  </a:pPr>
                  <a:r>
                    <a:rPr lang="en-US" sz="3300" b="1" dirty="0">
                      <a:solidFill>
                        <a:srgbClr val="D1FF95"/>
                      </a:solidFill>
                      <a:latin typeface="Red Hat Display" panose="02010303040201060303" pitchFamily="2" charset="0"/>
                    </a:rPr>
                    <a:t>06</a:t>
                  </a:r>
                </a:p>
              </p:txBody>
            </p:sp>
            <p:sp>
              <p:nvSpPr>
                <p:cNvPr id="13" name="TextBox 13"/>
                <p:cNvSpPr txBox="1"/>
                <p:nvPr/>
              </p:nvSpPr>
              <p:spPr>
                <a:xfrm>
                  <a:off x="4531718" y="6287604"/>
                  <a:ext cx="2272282" cy="205184"/>
                </a:xfrm>
                <a:prstGeom prst="rect">
                  <a:avLst/>
                </a:prstGeom>
              </p:spPr>
              <p:txBody>
                <a:bodyPr lIns="0" tIns="0" rIns="0" bIns="0" rtlCol="0" anchor="t">
                  <a:spAutoFit/>
                </a:bodyPr>
                <a:lstStyle/>
                <a:p>
                  <a:pPr marL="0" lvl="0" indent="0" algn="l">
                    <a:lnSpc>
                      <a:spcPts val="1596"/>
                    </a:lnSpc>
                    <a:spcBef>
                      <a:spcPct val="0"/>
                    </a:spcBef>
                  </a:pPr>
                  <a:r>
                    <a:rPr lang="en-US" sz="1400" b="1" dirty="0">
                      <a:solidFill>
                        <a:srgbClr val="D1FF95"/>
                      </a:solidFill>
                      <a:latin typeface="Red Hat Display" panose="02010303040201060303" pitchFamily="2" charset="0"/>
                    </a:rPr>
                    <a:t>Tech Mastery Basics</a:t>
                  </a:r>
                </a:p>
              </p:txBody>
            </p:sp>
            <p:sp>
              <p:nvSpPr>
                <p:cNvPr id="14" name="TextBox 14"/>
                <p:cNvSpPr txBox="1"/>
                <p:nvPr/>
              </p:nvSpPr>
              <p:spPr>
                <a:xfrm>
                  <a:off x="4543196" y="6541176"/>
                  <a:ext cx="1732366" cy="456087"/>
                </a:xfrm>
                <a:prstGeom prst="rect">
                  <a:avLst/>
                </a:prstGeom>
              </p:spPr>
              <p:txBody>
                <a:bodyPr lIns="0" tIns="0" rIns="0" bIns="0" rtlCol="0" anchor="t">
                  <a:spAutoFit/>
                </a:bodyPr>
                <a:lstStyle/>
                <a:p>
                  <a:pPr marL="0" lvl="0" indent="0" algn="l">
                    <a:lnSpc>
                      <a:spcPts val="1169"/>
                    </a:lnSpc>
                  </a:pPr>
                  <a:r>
                    <a:rPr lang="en-US" sz="899" u="none" strike="noStrike" dirty="0">
                      <a:solidFill>
                        <a:srgbClr val="FFFFFF">
                          <a:alpha val="94902"/>
                        </a:srgbClr>
                      </a:solidFill>
                      <a:latin typeface="DM Sans" pitchFamily="2" charset="0"/>
                    </a:rPr>
                    <a:t>Acquire fundamental skills </a:t>
                  </a:r>
                </a:p>
                <a:p>
                  <a:pPr marL="0" lvl="0" indent="0" algn="l">
                    <a:lnSpc>
                      <a:spcPts val="1169"/>
                    </a:lnSpc>
                  </a:pPr>
                  <a:r>
                    <a:rPr lang="en-US" sz="899" u="none" strike="noStrike" dirty="0">
                      <a:solidFill>
                        <a:srgbClr val="FFFFFF">
                          <a:alpha val="94902"/>
                        </a:srgbClr>
                      </a:solidFill>
                      <a:latin typeface="DM Sans" pitchFamily="2" charset="0"/>
                    </a:rPr>
                    <a:t>for using essential workplace technologies efficiently</a:t>
                  </a:r>
                </a:p>
              </p:txBody>
            </p:sp>
          </p:grpSp>
          <p:grpSp>
            <p:nvGrpSpPr>
              <p:cNvPr id="39" name="Group 38">
                <a:extLst>
                  <a:ext uri="{FF2B5EF4-FFF2-40B4-BE49-F238E27FC236}">
                    <a16:creationId xmlns:a16="http://schemas.microsoft.com/office/drawing/2014/main" id="{9C7F613A-E7ED-773F-E71B-FDCFA22D66FA}"/>
                  </a:ext>
                </a:extLst>
              </p:cNvPr>
              <p:cNvGrpSpPr/>
              <p:nvPr/>
            </p:nvGrpSpPr>
            <p:grpSpPr>
              <a:xfrm>
                <a:off x="3436141" y="4769969"/>
                <a:ext cx="3577213" cy="785013"/>
                <a:chOff x="3436141" y="4769969"/>
                <a:chExt cx="3577213" cy="785013"/>
              </a:xfrm>
            </p:grpSpPr>
            <p:sp>
              <p:nvSpPr>
                <p:cNvPr id="15" name="TextBox 15"/>
                <p:cNvSpPr txBox="1"/>
                <p:nvPr/>
              </p:nvSpPr>
              <p:spPr>
                <a:xfrm>
                  <a:off x="3436141" y="4769969"/>
                  <a:ext cx="687719" cy="487313"/>
                </a:xfrm>
                <a:prstGeom prst="rect">
                  <a:avLst/>
                </a:prstGeom>
              </p:spPr>
              <p:txBody>
                <a:bodyPr lIns="0" tIns="0" rIns="0" bIns="0" rtlCol="0" anchor="t">
                  <a:normAutofit/>
                </a:bodyPr>
                <a:lstStyle/>
                <a:p>
                  <a:pPr algn="ctr">
                    <a:lnSpc>
                      <a:spcPts val="3784"/>
                    </a:lnSpc>
                  </a:pPr>
                  <a:r>
                    <a:rPr lang="en-US" sz="3300" b="1" dirty="0">
                      <a:solidFill>
                        <a:srgbClr val="D1FF95"/>
                      </a:solidFill>
                      <a:latin typeface="Red Hat Display" panose="02010303040201060303" pitchFamily="2" charset="0"/>
                    </a:rPr>
                    <a:t>05</a:t>
                  </a:r>
                </a:p>
              </p:txBody>
            </p:sp>
            <p:sp>
              <p:nvSpPr>
                <p:cNvPr id="16" name="TextBox 16"/>
                <p:cNvSpPr txBox="1"/>
                <p:nvPr/>
              </p:nvSpPr>
              <p:spPr>
                <a:xfrm>
                  <a:off x="4531718" y="4845323"/>
                  <a:ext cx="2481636" cy="205184"/>
                </a:xfrm>
                <a:prstGeom prst="rect">
                  <a:avLst/>
                </a:prstGeom>
              </p:spPr>
              <p:txBody>
                <a:bodyPr lIns="0" tIns="0" rIns="0" bIns="0" rtlCol="0" anchor="t">
                  <a:spAutoFit/>
                </a:bodyPr>
                <a:lstStyle/>
                <a:p>
                  <a:pPr marL="0" lvl="0" indent="0" algn="l">
                    <a:lnSpc>
                      <a:spcPts val="1596"/>
                    </a:lnSpc>
                    <a:spcBef>
                      <a:spcPct val="0"/>
                    </a:spcBef>
                  </a:pPr>
                  <a:r>
                    <a:rPr lang="en-US" sz="1400" b="1" dirty="0">
                      <a:solidFill>
                        <a:srgbClr val="D1FF95"/>
                      </a:solidFill>
                      <a:latin typeface="Red Hat Display" panose="02010303040201060303" pitchFamily="2" charset="0"/>
                    </a:rPr>
                    <a:t>Team Dynamics</a:t>
                  </a:r>
                </a:p>
              </p:txBody>
            </p:sp>
            <p:sp>
              <p:nvSpPr>
                <p:cNvPr id="17" name="TextBox 17"/>
                <p:cNvSpPr txBox="1"/>
                <p:nvPr/>
              </p:nvSpPr>
              <p:spPr>
                <a:xfrm>
                  <a:off x="4543196" y="5098895"/>
                  <a:ext cx="1894774" cy="456087"/>
                </a:xfrm>
                <a:prstGeom prst="rect">
                  <a:avLst/>
                </a:prstGeom>
              </p:spPr>
              <p:txBody>
                <a:bodyPr lIns="0" tIns="0" rIns="0" bIns="0" rtlCol="0" anchor="t">
                  <a:spAutoFit/>
                </a:bodyPr>
                <a:lstStyle/>
                <a:p>
                  <a:pPr marL="0" lvl="0" indent="0" algn="l">
                    <a:lnSpc>
                      <a:spcPts val="1169"/>
                    </a:lnSpc>
                  </a:pPr>
                  <a:r>
                    <a:rPr lang="en-US" sz="899" u="none" strike="noStrike" dirty="0">
                      <a:solidFill>
                        <a:srgbClr val="FFFFFF">
                          <a:alpha val="94902"/>
                        </a:srgbClr>
                      </a:solidFill>
                      <a:latin typeface="DM Sans" pitchFamily="2" charset="0"/>
                    </a:rPr>
                    <a:t>Foster a collaborative environment through effective communication </a:t>
                  </a:r>
                </a:p>
                <a:p>
                  <a:pPr marL="0" lvl="0" indent="0" algn="l">
                    <a:lnSpc>
                      <a:spcPts val="1169"/>
                    </a:lnSpc>
                  </a:pPr>
                  <a:r>
                    <a:rPr lang="en-US" sz="899" u="none" strike="noStrike" dirty="0">
                      <a:solidFill>
                        <a:srgbClr val="FFFFFF">
                          <a:alpha val="94902"/>
                        </a:srgbClr>
                      </a:solidFill>
                      <a:latin typeface="DM Sans" pitchFamily="2" charset="0"/>
                    </a:rPr>
                    <a:t>and teamwork strategies</a:t>
                  </a:r>
                </a:p>
              </p:txBody>
            </p:sp>
          </p:grpSp>
          <p:grpSp>
            <p:nvGrpSpPr>
              <p:cNvPr id="38" name="Group 37">
                <a:extLst>
                  <a:ext uri="{FF2B5EF4-FFF2-40B4-BE49-F238E27FC236}">
                    <a16:creationId xmlns:a16="http://schemas.microsoft.com/office/drawing/2014/main" id="{063F59FC-EA42-5163-1F1F-DDEA5A0EE53E}"/>
                  </a:ext>
                </a:extLst>
              </p:cNvPr>
              <p:cNvGrpSpPr/>
              <p:nvPr/>
            </p:nvGrpSpPr>
            <p:grpSpPr>
              <a:xfrm>
                <a:off x="3436141" y="3327687"/>
                <a:ext cx="3367859" cy="785013"/>
                <a:chOff x="3436141" y="3327687"/>
                <a:chExt cx="3367859" cy="785013"/>
              </a:xfrm>
            </p:grpSpPr>
            <p:sp>
              <p:nvSpPr>
                <p:cNvPr id="18" name="TextBox 18"/>
                <p:cNvSpPr txBox="1"/>
                <p:nvPr/>
              </p:nvSpPr>
              <p:spPr>
                <a:xfrm>
                  <a:off x="3436141" y="3327687"/>
                  <a:ext cx="687719" cy="487313"/>
                </a:xfrm>
                <a:prstGeom prst="rect">
                  <a:avLst/>
                </a:prstGeom>
              </p:spPr>
              <p:txBody>
                <a:bodyPr lIns="0" tIns="0" rIns="0" bIns="0" rtlCol="0" anchor="t">
                  <a:normAutofit/>
                </a:bodyPr>
                <a:lstStyle/>
                <a:p>
                  <a:pPr algn="ctr">
                    <a:lnSpc>
                      <a:spcPts val="3784"/>
                    </a:lnSpc>
                  </a:pPr>
                  <a:r>
                    <a:rPr lang="en-US" sz="3300" b="1" dirty="0">
                      <a:solidFill>
                        <a:srgbClr val="D1FF95"/>
                      </a:solidFill>
                      <a:latin typeface="Red Hat Display" panose="02010303040201060303" pitchFamily="2" charset="0"/>
                    </a:rPr>
                    <a:t>04</a:t>
                  </a:r>
                </a:p>
              </p:txBody>
            </p:sp>
            <p:sp>
              <p:nvSpPr>
                <p:cNvPr id="19" name="TextBox 19"/>
                <p:cNvSpPr txBox="1"/>
                <p:nvPr/>
              </p:nvSpPr>
              <p:spPr>
                <a:xfrm>
                  <a:off x="4531718" y="3403041"/>
                  <a:ext cx="2272282" cy="205184"/>
                </a:xfrm>
                <a:prstGeom prst="rect">
                  <a:avLst/>
                </a:prstGeom>
              </p:spPr>
              <p:txBody>
                <a:bodyPr lIns="0" tIns="0" rIns="0" bIns="0" rtlCol="0" anchor="t">
                  <a:spAutoFit/>
                </a:bodyPr>
                <a:lstStyle/>
                <a:p>
                  <a:pPr marL="0" lvl="0" indent="0" algn="l">
                    <a:lnSpc>
                      <a:spcPts val="1596"/>
                    </a:lnSpc>
                    <a:spcBef>
                      <a:spcPct val="0"/>
                    </a:spcBef>
                  </a:pPr>
                  <a:r>
                    <a:rPr lang="en-US" sz="1400" b="1" dirty="0">
                      <a:solidFill>
                        <a:srgbClr val="D1FF95"/>
                      </a:solidFill>
                      <a:latin typeface="Red Hat Display" panose="02010303040201060303" pitchFamily="2" charset="0"/>
                    </a:rPr>
                    <a:t>Safety First</a:t>
                  </a:r>
                </a:p>
              </p:txBody>
            </p:sp>
            <p:sp>
              <p:nvSpPr>
                <p:cNvPr id="20" name="TextBox 20"/>
                <p:cNvSpPr txBox="1"/>
                <p:nvPr/>
              </p:nvSpPr>
              <p:spPr>
                <a:xfrm>
                  <a:off x="4543196" y="3656613"/>
                  <a:ext cx="1528745" cy="456087"/>
                </a:xfrm>
                <a:prstGeom prst="rect">
                  <a:avLst/>
                </a:prstGeom>
              </p:spPr>
              <p:txBody>
                <a:bodyPr lIns="0" tIns="0" rIns="0" bIns="0" rtlCol="0" anchor="t">
                  <a:spAutoFit/>
                </a:bodyPr>
                <a:lstStyle/>
                <a:p>
                  <a:pPr marL="0" lvl="0" indent="0" algn="l">
                    <a:lnSpc>
                      <a:spcPts val="1169"/>
                    </a:lnSpc>
                  </a:pPr>
                  <a:r>
                    <a:rPr lang="en-US" sz="899" u="none" strike="noStrike" dirty="0">
                      <a:solidFill>
                        <a:srgbClr val="FFFFFF">
                          <a:alpha val="94902"/>
                        </a:srgbClr>
                      </a:solidFill>
                      <a:latin typeface="DM Sans" pitchFamily="2" charset="0"/>
                    </a:rPr>
                    <a:t>Prioritize and practice safety protocols to ensure a secure work environment</a:t>
                  </a:r>
                </a:p>
              </p:txBody>
            </p:sp>
          </p:grpSp>
          <p:grpSp>
            <p:nvGrpSpPr>
              <p:cNvPr id="37" name="Group 36">
                <a:extLst>
                  <a:ext uri="{FF2B5EF4-FFF2-40B4-BE49-F238E27FC236}">
                    <a16:creationId xmlns:a16="http://schemas.microsoft.com/office/drawing/2014/main" id="{BCBDC817-FE51-88CC-CDFD-190E25D88C85}"/>
                  </a:ext>
                </a:extLst>
              </p:cNvPr>
              <p:cNvGrpSpPr/>
              <p:nvPr/>
            </p:nvGrpSpPr>
            <p:grpSpPr>
              <a:xfrm>
                <a:off x="3436141" y="1885405"/>
                <a:ext cx="3367859" cy="785013"/>
                <a:chOff x="3436141" y="1885405"/>
                <a:chExt cx="3367859" cy="785013"/>
              </a:xfrm>
            </p:grpSpPr>
            <p:sp>
              <p:nvSpPr>
                <p:cNvPr id="21" name="TextBox 21"/>
                <p:cNvSpPr txBox="1"/>
                <p:nvPr/>
              </p:nvSpPr>
              <p:spPr>
                <a:xfrm>
                  <a:off x="3436141" y="1885405"/>
                  <a:ext cx="687719" cy="487313"/>
                </a:xfrm>
                <a:prstGeom prst="rect">
                  <a:avLst/>
                </a:prstGeom>
              </p:spPr>
              <p:txBody>
                <a:bodyPr lIns="0" tIns="0" rIns="0" bIns="0" rtlCol="0" anchor="t">
                  <a:normAutofit/>
                </a:bodyPr>
                <a:lstStyle/>
                <a:p>
                  <a:pPr algn="ctr">
                    <a:lnSpc>
                      <a:spcPts val="3784"/>
                    </a:lnSpc>
                  </a:pPr>
                  <a:r>
                    <a:rPr lang="en-US" sz="3300" b="1" dirty="0">
                      <a:solidFill>
                        <a:srgbClr val="D1FF95"/>
                      </a:solidFill>
                      <a:latin typeface="Red Hat Display" panose="02010303040201060303" pitchFamily="2" charset="0"/>
                    </a:rPr>
                    <a:t>03</a:t>
                  </a:r>
                </a:p>
              </p:txBody>
            </p:sp>
            <p:sp>
              <p:nvSpPr>
                <p:cNvPr id="22" name="TextBox 22"/>
                <p:cNvSpPr txBox="1"/>
                <p:nvPr/>
              </p:nvSpPr>
              <p:spPr>
                <a:xfrm>
                  <a:off x="4531718" y="1960759"/>
                  <a:ext cx="2272282" cy="205184"/>
                </a:xfrm>
                <a:prstGeom prst="rect">
                  <a:avLst/>
                </a:prstGeom>
              </p:spPr>
              <p:txBody>
                <a:bodyPr lIns="0" tIns="0" rIns="0" bIns="0" rtlCol="0" anchor="t">
                  <a:spAutoFit/>
                </a:bodyPr>
                <a:lstStyle/>
                <a:p>
                  <a:pPr marL="0" lvl="0" indent="0" algn="l">
                    <a:lnSpc>
                      <a:spcPts val="1596"/>
                    </a:lnSpc>
                    <a:spcBef>
                      <a:spcPct val="0"/>
                    </a:spcBef>
                  </a:pPr>
                  <a:r>
                    <a:rPr lang="en-US" sz="1400" b="1" dirty="0">
                      <a:solidFill>
                        <a:srgbClr val="D1FF95"/>
                      </a:solidFill>
                      <a:latin typeface="Red Hat Display" panose="02010303040201060303" pitchFamily="2" charset="0"/>
                    </a:rPr>
                    <a:t>Welcome Message</a:t>
                  </a:r>
                </a:p>
              </p:txBody>
            </p:sp>
            <p:sp>
              <p:nvSpPr>
                <p:cNvPr id="23" name="TextBox 23"/>
                <p:cNvSpPr txBox="1"/>
                <p:nvPr/>
              </p:nvSpPr>
              <p:spPr>
                <a:xfrm>
                  <a:off x="4543196" y="2214331"/>
                  <a:ext cx="1368505" cy="456087"/>
                </a:xfrm>
                <a:prstGeom prst="rect">
                  <a:avLst/>
                </a:prstGeom>
              </p:spPr>
              <p:txBody>
                <a:bodyPr lIns="0" tIns="0" rIns="0" bIns="0" rtlCol="0" anchor="t">
                  <a:spAutoFit/>
                </a:bodyPr>
                <a:lstStyle/>
                <a:p>
                  <a:pPr marL="0" lvl="0" indent="0" algn="l">
                    <a:lnSpc>
                      <a:spcPts val="1169"/>
                    </a:lnSpc>
                  </a:pPr>
                  <a:r>
                    <a:rPr lang="en-US" sz="899" u="none" strike="noStrike" dirty="0">
                      <a:solidFill>
                        <a:srgbClr val="FFFFFF">
                          <a:alpha val="94902"/>
                        </a:srgbClr>
                      </a:solidFill>
                      <a:latin typeface="DM Sans" pitchFamily="2" charset="0"/>
                    </a:rPr>
                    <a:t>CEO welcome message extends warm greetings to new team members</a:t>
                  </a:r>
                </a:p>
              </p:txBody>
            </p:sp>
          </p:grpSp>
          <p:sp>
            <p:nvSpPr>
              <p:cNvPr id="24" name="AutoShape 24"/>
              <p:cNvSpPr/>
              <p:nvPr/>
            </p:nvSpPr>
            <p:spPr>
              <a:xfrm flipH="1">
                <a:off x="3780001" y="8330182"/>
                <a:ext cx="0" cy="487313"/>
              </a:xfrm>
              <a:prstGeom prst="line">
                <a:avLst/>
              </a:prstGeom>
              <a:ln w="9525" cap="flat">
                <a:solidFill>
                  <a:srgbClr val="FFFFFF">
                    <a:alpha val="69804"/>
                  </a:srgbClr>
                </a:solidFill>
                <a:prstDash val="solid"/>
                <a:headEnd type="none" w="sm" len="sm"/>
                <a:tailEnd type="none" w="sm" len="sm"/>
              </a:ln>
            </p:spPr>
            <p:txBody>
              <a:bodyPr>
                <a:normAutofit fontScale="25000" lnSpcReduction="20000"/>
              </a:bodyPr>
              <a:lstStyle/>
              <a:p>
                <a:endParaRPr lang="en-US" dirty="0"/>
              </a:p>
            </p:txBody>
          </p:sp>
          <p:sp>
            <p:nvSpPr>
              <p:cNvPr id="25" name="AutoShape 25"/>
              <p:cNvSpPr/>
              <p:nvPr/>
            </p:nvSpPr>
            <p:spPr>
              <a:xfrm flipH="1">
                <a:off x="3780001" y="6887901"/>
                <a:ext cx="0" cy="487313"/>
              </a:xfrm>
              <a:prstGeom prst="line">
                <a:avLst/>
              </a:prstGeom>
              <a:ln w="9525" cap="flat">
                <a:solidFill>
                  <a:srgbClr val="FFFFFF">
                    <a:alpha val="69804"/>
                  </a:srgbClr>
                </a:solidFill>
                <a:prstDash val="solid"/>
                <a:headEnd type="none" w="sm" len="sm"/>
                <a:tailEnd type="none" w="sm" len="sm"/>
              </a:ln>
            </p:spPr>
            <p:txBody>
              <a:bodyPr>
                <a:normAutofit fontScale="25000" lnSpcReduction="20000"/>
              </a:bodyPr>
              <a:lstStyle/>
              <a:p>
                <a:endParaRPr lang="en-US" dirty="0"/>
              </a:p>
            </p:txBody>
          </p:sp>
          <p:sp>
            <p:nvSpPr>
              <p:cNvPr id="26" name="AutoShape 26"/>
              <p:cNvSpPr/>
              <p:nvPr/>
            </p:nvSpPr>
            <p:spPr>
              <a:xfrm flipH="1">
                <a:off x="3780001" y="5445619"/>
                <a:ext cx="0" cy="487313"/>
              </a:xfrm>
              <a:prstGeom prst="line">
                <a:avLst/>
              </a:prstGeom>
              <a:ln w="9525" cap="flat">
                <a:solidFill>
                  <a:srgbClr val="FFFFFF">
                    <a:alpha val="69804"/>
                  </a:srgbClr>
                </a:solidFill>
                <a:prstDash val="solid"/>
                <a:headEnd type="none" w="sm" len="sm"/>
                <a:tailEnd type="none" w="sm" len="sm"/>
              </a:ln>
            </p:spPr>
            <p:txBody>
              <a:bodyPr>
                <a:normAutofit fontScale="25000" lnSpcReduction="20000"/>
              </a:bodyPr>
              <a:lstStyle/>
              <a:p>
                <a:endParaRPr lang="en-US" dirty="0"/>
              </a:p>
            </p:txBody>
          </p:sp>
          <p:sp>
            <p:nvSpPr>
              <p:cNvPr id="27" name="AutoShape 27"/>
              <p:cNvSpPr/>
              <p:nvPr/>
            </p:nvSpPr>
            <p:spPr>
              <a:xfrm flipH="1">
                <a:off x="3780001" y="4003337"/>
                <a:ext cx="0" cy="487313"/>
              </a:xfrm>
              <a:prstGeom prst="line">
                <a:avLst/>
              </a:prstGeom>
              <a:ln w="9525" cap="flat">
                <a:solidFill>
                  <a:srgbClr val="FFFFFF">
                    <a:alpha val="69804"/>
                  </a:srgbClr>
                </a:solidFill>
                <a:prstDash val="solid"/>
                <a:headEnd type="none" w="sm" len="sm"/>
                <a:tailEnd type="none" w="sm" len="sm"/>
              </a:ln>
            </p:spPr>
            <p:txBody>
              <a:bodyPr>
                <a:normAutofit fontScale="25000" lnSpcReduction="20000"/>
              </a:bodyPr>
              <a:lstStyle/>
              <a:p>
                <a:endParaRPr lang="en-US" dirty="0"/>
              </a:p>
            </p:txBody>
          </p:sp>
          <p:sp>
            <p:nvSpPr>
              <p:cNvPr id="28" name="AutoShape 28"/>
              <p:cNvSpPr/>
              <p:nvPr/>
            </p:nvSpPr>
            <p:spPr>
              <a:xfrm flipH="1">
                <a:off x="3780001" y="2561056"/>
                <a:ext cx="0" cy="487313"/>
              </a:xfrm>
              <a:prstGeom prst="line">
                <a:avLst/>
              </a:prstGeom>
              <a:ln w="9525" cap="flat">
                <a:solidFill>
                  <a:srgbClr val="FFFFFF">
                    <a:alpha val="69804"/>
                  </a:srgbClr>
                </a:solidFill>
                <a:prstDash val="solid"/>
                <a:headEnd type="none" w="sm" len="sm"/>
                <a:tailEnd type="none" w="sm" len="sm"/>
              </a:ln>
            </p:spPr>
            <p:txBody>
              <a:bodyPr>
                <a:normAutofit fontScale="25000" lnSpcReduction="20000"/>
              </a:bodyPr>
              <a:lstStyle/>
              <a:p>
                <a:endParaRPr lang="en-US" dirty="0"/>
              </a:p>
            </p:txBody>
          </p:sp>
        </p:grpSp>
        <p:sp>
          <p:nvSpPr>
            <p:cNvPr id="29" name="TextBox 29"/>
            <p:cNvSpPr txBox="1"/>
            <p:nvPr/>
          </p:nvSpPr>
          <p:spPr>
            <a:xfrm>
              <a:off x="756000" y="4807257"/>
              <a:ext cx="2322954" cy="1078885"/>
            </a:xfrm>
            <a:prstGeom prst="rect">
              <a:avLst/>
            </a:prstGeom>
          </p:spPr>
          <p:txBody>
            <a:bodyPr lIns="0" tIns="0" rIns="0" bIns="0" rtlCol="0" anchor="t">
              <a:spAutoFit/>
            </a:bodyPr>
            <a:lstStyle/>
            <a:p>
              <a:pPr marL="0" lvl="0" indent="0" algn="l">
                <a:lnSpc>
                  <a:spcPts val="4227"/>
                </a:lnSpc>
                <a:spcBef>
                  <a:spcPct val="0"/>
                </a:spcBef>
              </a:pPr>
              <a:r>
                <a:rPr lang="en-US" sz="3850" b="1" u="none" strike="noStrike" dirty="0">
                  <a:solidFill>
                    <a:srgbClr val="FFFFFF"/>
                  </a:solidFill>
                  <a:latin typeface="Red Hat Display" panose="02010303040201060303" pitchFamily="2" charset="0"/>
                </a:rPr>
                <a:t>Table of contents</a:t>
              </a:r>
            </a:p>
          </p:txBody>
        </p:sp>
        <p:grpSp>
          <p:nvGrpSpPr>
            <p:cNvPr id="32" name="Group 31">
              <a:extLst>
                <a:ext uri="{FF2B5EF4-FFF2-40B4-BE49-F238E27FC236}">
                  <a16:creationId xmlns:a16="http://schemas.microsoft.com/office/drawing/2014/main" id="{ECC935F1-2FBA-D231-8DE7-02165869687A}"/>
                </a:ext>
              </a:extLst>
            </p:cNvPr>
            <p:cNvGrpSpPr/>
            <p:nvPr/>
          </p:nvGrpSpPr>
          <p:grpSpPr>
            <a:xfrm>
              <a:off x="756000" y="756000"/>
              <a:ext cx="6048000" cy="462217"/>
              <a:chOff x="756000" y="756000"/>
              <a:chExt cx="6048000" cy="462217"/>
            </a:xfrm>
          </p:grpSpPr>
          <p:sp>
            <p:nvSpPr>
              <p:cNvPr id="3" name="TextBox 3"/>
              <p:cNvSpPr txBox="1"/>
              <p:nvPr/>
            </p:nvSpPr>
            <p:spPr>
              <a:xfrm>
                <a:off x="4420388" y="797396"/>
                <a:ext cx="2383612" cy="420821"/>
              </a:xfrm>
              <a:prstGeom prst="rect">
                <a:avLst/>
              </a:prstGeom>
            </p:spPr>
            <p:txBody>
              <a:bodyPr lIns="0" tIns="0" rIns="0" bIns="0" rtlCol="0" anchor="t">
                <a:spAutoFit/>
              </a:bodyPr>
              <a:lstStyle/>
              <a:p>
                <a:pPr algn="r">
                  <a:lnSpc>
                    <a:spcPts val="1079"/>
                  </a:lnSpc>
                </a:pPr>
                <a:r>
                  <a:rPr lang="en-US" sz="899" dirty="0">
                    <a:solidFill>
                      <a:srgbClr val="FFFFFF"/>
                    </a:solidFill>
                    <a:latin typeface="DM Sans" pitchFamily="2" charset="0"/>
                  </a:rPr>
                  <a:t>123 Anywhere St., Any City</a:t>
                </a:r>
              </a:p>
              <a:p>
                <a:pPr algn="r">
                  <a:lnSpc>
                    <a:spcPts val="1079"/>
                  </a:lnSpc>
                </a:pPr>
                <a:r>
                  <a:rPr lang="en-US" sz="899" dirty="0">
                    <a:solidFill>
                      <a:srgbClr val="FFFFFF"/>
                    </a:solidFill>
                    <a:latin typeface="DM Sans" pitchFamily="2" charset="0"/>
                  </a:rPr>
                  <a:t>+123-456-7890</a:t>
                </a:r>
              </a:p>
              <a:p>
                <a:pPr algn="r">
                  <a:lnSpc>
                    <a:spcPts val="1079"/>
                  </a:lnSpc>
                </a:pPr>
                <a:r>
                  <a:rPr lang="en-US" sz="899" dirty="0">
                    <a:solidFill>
                      <a:srgbClr val="FFFFFF"/>
                    </a:solidFill>
                    <a:latin typeface="DM Sans" pitchFamily="2" charset="0"/>
                  </a:rPr>
                  <a:t>www.Quirkifystudio.com</a:t>
                </a:r>
              </a:p>
            </p:txBody>
          </p:sp>
          <p:sp>
            <p:nvSpPr>
              <p:cNvPr id="4" name="Freeform 4"/>
              <p:cNvSpPr/>
              <p:nvPr/>
            </p:nvSpPr>
            <p:spPr>
              <a:xfrm>
                <a:off x="756000" y="756000"/>
                <a:ext cx="427680" cy="427680"/>
              </a:xfrm>
              <a:custGeom>
                <a:avLst/>
                <a:gdLst/>
                <a:ahLst/>
                <a:cxnLst/>
                <a:rect l="l" t="t" r="r" b="b"/>
                <a:pathLst>
                  <a:path w="570240" h="570240">
                    <a:moveTo>
                      <a:pt x="0" y="0"/>
                    </a:moveTo>
                    <a:lnTo>
                      <a:pt x="570240" y="0"/>
                    </a:lnTo>
                    <a:lnTo>
                      <a:pt x="570240" y="570240"/>
                    </a:lnTo>
                    <a:lnTo>
                      <a:pt x="0" y="57024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dirty="0"/>
              </a:p>
            </p:txBody>
          </p:sp>
          <p:sp>
            <p:nvSpPr>
              <p:cNvPr id="5" name="TextBox 5"/>
              <p:cNvSpPr txBox="1"/>
              <p:nvPr/>
            </p:nvSpPr>
            <p:spPr>
              <a:xfrm>
                <a:off x="1346075" y="756000"/>
                <a:ext cx="1191707" cy="461665"/>
              </a:xfrm>
              <a:prstGeom prst="rect">
                <a:avLst/>
              </a:prstGeom>
            </p:spPr>
            <p:txBody>
              <a:bodyPr lIns="0" tIns="0" rIns="0" bIns="0" rtlCol="0" anchor="t">
                <a:spAutoFit/>
              </a:bodyPr>
              <a:lstStyle/>
              <a:p>
                <a:pPr>
                  <a:lnSpc>
                    <a:spcPts val="1817"/>
                  </a:lnSpc>
                </a:pPr>
                <a:r>
                  <a:rPr lang="en-US" sz="1502" b="1" dirty="0">
                    <a:solidFill>
                      <a:srgbClr val="FFFFFF"/>
                    </a:solidFill>
                    <a:latin typeface="Red Hat Display" panose="02010303040201060303" pitchFamily="2" charset="0"/>
                  </a:rPr>
                  <a:t>QUIRKIFY </a:t>
                </a:r>
              </a:p>
              <a:p>
                <a:pPr>
                  <a:lnSpc>
                    <a:spcPts val="1817"/>
                  </a:lnSpc>
                </a:pPr>
                <a:r>
                  <a:rPr lang="en-US" sz="1502" b="1" dirty="0">
                    <a:solidFill>
                      <a:srgbClr val="FFFFFF"/>
                    </a:solidFill>
                    <a:latin typeface="Red Hat Display" panose="02010303040201060303" pitchFamily="2" charset="0"/>
                  </a:rPr>
                  <a:t>STUDIO</a:t>
                </a:r>
              </a:p>
            </p:txBody>
          </p:sp>
        </p:grpSp>
        <p:sp>
          <p:nvSpPr>
            <p:cNvPr id="31" name="TemplateLAB"/>
            <p:cNvSpPr/>
            <p:nvPr/>
          </p:nvSpPr>
          <p:spPr>
            <a:xfrm>
              <a:off x="6071941" y="10042856"/>
              <a:ext cx="732059" cy="120790"/>
            </a:xfrm>
            <a:custGeom>
              <a:avLst/>
              <a:gdLst/>
              <a:ahLst/>
              <a:cxnLst/>
              <a:rect l="l" t="t" r="r" b="b"/>
              <a:pathLst>
                <a:path w="732059" h="120790">
                  <a:moveTo>
                    <a:pt x="0" y="0"/>
                  </a:moveTo>
                  <a:lnTo>
                    <a:pt x="732059" y="0"/>
                  </a:lnTo>
                  <a:lnTo>
                    <a:pt x="732059" y="120790"/>
                  </a:lnTo>
                  <a:lnTo>
                    <a:pt x="0" y="12079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dirty="0"/>
            </a:p>
          </p:txBody>
        </p:sp>
      </p:grpSp>
    </p:spTree>
    <p:custDataLst>
      <p:tags r:id="rId1"/>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7 - Page 3">
            <a:extLst>
              <a:ext uri="{FF2B5EF4-FFF2-40B4-BE49-F238E27FC236}">
                <a16:creationId xmlns:a16="http://schemas.microsoft.com/office/drawing/2014/main" id="{C3F93D14-62CF-07E6-FF17-5B41278E82F5}"/>
              </a:ext>
            </a:extLst>
          </p:cNvPr>
          <p:cNvGrpSpPr/>
          <p:nvPr/>
        </p:nvGrpSpPr>
        <p:grpSpPr>
          <a:xfrm>
            <a:off x="0" y="756000"/>
            <a:ext cx="6810383" cy="9416022"/>
            <a:chOff x="0" y="756000"/>
            <a:chExt cx="6810383" cy="9416022"/>
          </a:xfrm>
        </p:grpSpPr>
        <p:sp>
          <p:nvSpPr>
            <p:cNvPr id="12" name="TextBox 12"/>
            <p:cNvSpPr txBox="1"/>
            <p:nvPr/>
          </p:nvSpPr>
          <p:spPr>
            <a:xfrm>
              <a:off x="5817676" y="10015056"/>
              <a:ext cx="986324" cy="156966"/>
            </a:xfrm>
            <a:prstGeom prst="rect">
              <a:avLst/>
            </a:prstGeom>
          </p:spPr>
          <p:txBody>
            <a:bodyPr lIns="0" tIns="0" rIns="0" bIns="0" rtlCol="0" anchor="t">
              <a:spAutoFit/>
            </a:bodyPr>
            <a:lstStyle/>
            <a:p>
              <a:pPr marL="0" lvl="0" indent="0" algn="r">
                <a:lnSpc>
                  <a:spcPts val="1260"/>
                </a:lnSpc>
                <a:spcBef>
                  <a:spcPct val="0"/>
                </a:spcBef>
              </a:pPr>
              <a:r>
                <a:rPr lang="en-US" sz="900" b="1" dirty="0">
                  <a:solidFill>
                    <a:srgbClr val="121722"/>
                  </a:solidFill>
                  <a:latin typeface="Red Hat Display"/>
                </a:rPr>
                <a:t> I </a:t>
              </a:r>
              <a:r>
                <a:rPr lang="en-US" sz="900" b="1" dirty="0">
                  <a:solidFill>
                    <a:srgbClr val="121722"/>
                  </a:solidFill>
                  <a:latin typeface="Red Hat Display" panose="02010303040201060303" pitchFamily="2" charset="0"/>
                </a:rPr>
                <a:t>PAGE 3</a:t>
              </a:r>
            </a:p>
          </p:txBody>
        </p:sp>
        <p:pic>
          <p:nvPicPr>
            <p:cNvPr id="3" name="Picture 3"/>
            <p:cNvPicPr>
              <a:picLocks noChangeAspect="1"/>
            </p:cNvPicPr>
            <p:nvPr/>
          </p:nvPicPr>
          <p:blipFill rotWithShape="1">
            <a:blip r:embed="rId3"/>
            <a:srcRect l="22714" r="13766" b="3874"/>
            <a:stretch/>
          </p:blipFill>
          <p:spPr>
            <a:xfrm>
              <a:off x="0" y="1620651"/>
              <a:ext cx="3519009" cy="7993249"/>
            </a:xfrm>
            <a:prstGeom prst="rect">
              <a:avLst/>
            </a:prstGeom>
          </p:spPr>
        </p:pic>
        <p:grpSp>
          <p:nvGrpSpPr>
            <p:cNvPr id="19" name="Group 18">
              <a:extLst>
                <a:ext uri="{FF2B5EF4-FFF2-40B4-BE49-F238E27FC236}">
                  <a16:creationId xmlns:a16="http://schemas.microsoft.com/office/drawing/2014/main" id="{6AA357A0-A221-5FBB-6881-36692EDB1EB2}"/>
                </a:ext>
              </a:extLst>
            </p:cNvPr>
            <p:cNvGrpSpPr/>
            <p:nvPr/>
          </p:nvGrpSpPr>
          <p:grpSpPr>
            <a:xfrm>
              <a:off x="4060880" y="1680351"/>
              <a:ext cx="2749503" cy="7012209"/>
              <a:chOff x="4060880" y="1680351"/>
              <a:chExt cx="2749503" cy="7012209"/>
            </a:xfrm>
          </p:grpSpPr>
          <p:sp>
            <p:nvSpPr>
              <p:cNvPr id="4" name="TextBox 4"/>
              <p:cNvSpPr txBox="1"/>
              <p:nvPr/>
            </p:nvSpPr>
            <p:spPr>
              <a:xfrm>
                <a:off x="4060880" y="1680351"/>
                <a:ext cx="2749503" cy="1610614"/>
              </a:xfrm>
              <a:prstGeom prst="rect">
                <a:avLst/>
              </a:prstGeom>
            </p:spPr>
            <p:txBody>
              <a:bodyPr lIns="0" tIns="0" rIns="0" bIns="0" rtlCol="0" anchor="t">
                <a:spAutoFit/>
              </a:bodyPr>
              <a:lstStyle/>
              <a:p>
                <a:pPr marL="0" lvl="0" indent="0" algn="l">
                  <a:lnSpc>
                    <a:spcPts val="4227"/>
                  </a:lnSpc>
                  <a:spcBef>
                    <a:spcPct val="0"/>
                  </a:spcBef>
                </a:pPr>
                <a:r>
                  <a:rPr lang="en-US" sz="3850" b="1" dirty="0">
                    <a:solidFill>
                      <a:srgbClr val="121722"/>
                    </a:solidFill>
                    <a:latin typeface="Red Hat Display" panose="02010303040201060303" pitchFamily="2" charset="0"/>
                  </a:rPr>
                  <a:t>Welcome to Quirkify Studio!</a:t>
                </a:r>
              </a:p>
            </p:txBody>
          </p:sp>
          <p:sp>
            <p:nvSpPr>
              <p:cNvPr id="5" name="TextBox 5"/>
              <p:cNvSpPr txBox="1"/>
              <p:nvPr/>
            </p:nvSpPr>
            <p:spPr>
              <a:xfrm>
                <a:off x="4060880" y="3868161"/>
                <a:ext cx="2749503" cy="1161921"/>
              </a:xfrm>
              <a:prstGeom prst="rect">
                <a:avLst/>
              </a:prstGeom>
            </p:spPr>
            <p:txBody>
              <a:bodyPr lIns="0" tIns="0" rIns="0" bIns="0" rtlCol="0" anchor="t">
                <a:spAutoFit/>
              </a:bodyPr>
              <a:lstStyle/>
              <a:p>
                <a:pPr marL="0" lvl="0" indent="0" algn="l">
                  <a:lnSpc>
                    <a:spcPts val="1299"/>
                  </a:lnSpc>
                </a:pPr>
                <a:r>
                  <a:rPr lang="en-US" sz="999" u="none" strike="noStrike" dirty="0">
                    <a:solidFill>
                      <a:srgbClr val="2B2B2B"/>
                    </a:solidFill>
                    <a:latin typeface="DM Sans" pitchFamily="2" charset="0"/>
                  </a:rPr>
                  <a:t>I am thrilled to extend a warm welcome </a:t>
                </a:r>
              </a:p>
              <a:p>
                <a:pPr marL="0" lvl="0" indent="0" algn="l">
                  <a:lnSpc>
                    <a:spcPts val="1299"/>
                  </a:lnSpc>
                </a:pPr>
                <a:r>
                  <a:rPr lang="en-US" sz="999" u="none" strike="noStrike" dirty="0">
                    <a:solidFill>
                      <a:srgbClr val="2B2B2B"/>
                    </a:solidFill>
                    <a:latin typeface="DM Sans" pitchFamily="2" charset="0"/>
                  </a:rPr>
                  <a:t>to each new member joining our vibrant community. At Quirkify, we believe in the power of creativity, collaboration, and innovation. As the CEO, I am excited </a:t>
                </a:r>
              </a:p>
              <a:p>
                <a:pPr marL="0" lvl="0" indent="0" algn="l">
                  <a:lnSpc>
                    <a:spcPts val="1299"/>
                  </a:lnSpc>
                </a:pPr>
                <a:r>
                  <a:rPr lang="en-US" sz="999" u="none" strike="noStrike" dirty="0">
                    <a:solidFill>
                      <a:srgbClr val="2B2B2B"/>
                    </a:solidFill>
                    <a:latin typeface="DM Sans" pitchFamily="2" charset="0"/>
                  </a:rPr>
                  <a:t>to witness the unique talents and </a:t>
                </a:r>
              </a:p>
              <a:p>
                <a:pPr marL="0" lvl="0" indent="0" algn="l">
                  <a:lnSpc>
                    <a:spcPts val="1299"/>
                  </a:lnSpc>
                </a:pPr>
                <a:r>
                  <a:rPr lang="en-US" sz="999" u="none" strike="noStrike" dirty="0">
                    <a:solidFill>
                      <a:srgbClr val="2B2B2B"/>
                    </a:solidFill>
                    <a:latin typeface="DM Sans" pitchFamily="2" charset="0"/>
                  </a:rPr>
                  <a:t>perspectives you bring to our studio.</a:t>
                </a:r>
              </a:p>
            </p:txBody>
          </p:sp>
          <p:sp>
            <p:nvSpPr>
              <p:cNvPr id="6" name="TextBox 6"/>
              <p:cNvSpPr txBox="1"/>
              <p:nvPr/>
            </p:nvSpPr>
            <p:spPr>
              <a:xfrm>
                <a:off x="4060880" y="5237856"/>
                <a:ext cx="2743120" cy="1328633"/>
              </a:xfrm>
              <a:prstGeom prst="rect">
                <a:avLst/>
              </a:prstGeom>
            </p:spPr>
            <p:txBody>
              <a:bodyPr lIns="0" tIns="0" rIns="0" bIns="0" rtlCol="0" anchor="t">
                <a:spAutoFit/>
              </a:bodyPr>
              <a:lstStyle/>
              <a:p>
                <a:pPr marL="0" lvl="0" indent="0" algn="l">
                  <a:lnSpc>
                    <a:spcPts val="1299"/>
                  </a:lnSpc>
                </a:pPr>
                <a:r>
                  <a:rPr lang="en-US" sz="999" dirty="0">
                    <a:solidFill>
                      <a:srgbClr val="2B2B2B"/>
                    </a:solidFill>
                    <a:latin typeface="DM Sans" pitchFamily="2" charset="0"/>
                  </a:rPr>
                  <a:t>Quirkify Studio transcends a mere workplace, evolving into a vibrant ecosystem where passion converges with purpose. Collaboratively, we forge extraordinary experiences, challenging the frontiers of creativity and design. Your engagement with us extends beyond a job; it's a chance to contribute to something truly exceptional.</a:t>
                </a:r>
              </a:p>
            </p:txBody>
          </p:sp>
          <p:sp>
            <p:nvSpPr>
              <p:cNvPr id="7" name="TextBox 7"/>
              <p:cNvSpPr txBox="1"/>
              <p:nvPr/>
            </p:nvSpPr>
            <p:spPr>
              <a:xfrm>
                <a:off x="4060880" y="6774263"/>
                <a:ext cx="2749503" cy="828497"/>
              </a:xfrm>
              <a:prstGeom prst="rect">
                <a:avLst/>
              </a:prstGeom>
            </p:spPr>
            <p:txBody>
              <a:bodyPr lIns="0" tIns="0" rIns="0" bIns="0" rtlCol="0" anchor="t">
                <a:spAutoFit/>
              </a:bodyPr>
              <a:lstStyle/>
              <a:p>
                <a:pPr marL="0" lvl="0" indent="0" algn="l">
                  <a:lnSpc>
                    <a:spcPts val="1299"/>
                  </a:lnSpc>
                </a:pPr>
                <a:r>
                  <a:rPr lang="en-US" sz="999" dirty="0">
                    <a:solidFill>
                      <a:srgbClr val="2B2B2B"/>
                    </a:solidFill>
                    <a:latin typeface="DM Sans" pitchFamily="2" charset="0"/>
                  </a:rPr>
                  <a:t>Our commitment to fostering a positive and inclusive environment is at the core of our success. Embrace the quirkiness, embrace </a:t>
                </a:r>
              </a:p>
              <a:p>
                <a:pPr marL="0" lvl="0" indent="0" algn="l">
                  <a:lnSpc>
                    <a:spcPts val="1299"/>
                  </a:lnSpc>
                </a:pPr>
                <a:r>
                  <a:rPr lang="en-US" sz="999" dirty="0">
                    <a:solidFill>
                      <a:srgbClr val="2B2B2B"/>
                    </a:solidFill>
                    <a:latin typeface="DM Sans" pitchFamily="2" charset="0"/>
                  </a:rPr>
                  <a:t>the creativity, celebrate diversity, and most importantly, embrace the sense of belonging.</a:t>
                </a:r>
              </a:p>
            </p:txBody>
          </p:sp>
          <p:sp>
            <p:nvSpPr>
              <p:cNvPr id="8" name="TextBox 8"/>
              <p:cNvSpPr txBox="1"/>
              <p:nvPr/>
            </p:nvSpPr>
            <p:spPr>
              <a:xfrm>
                <a:off x="4060880" y="7810534"/>
                <a:ext cx="2749503" cy="328360"/>
              </a:xfrm>
              <a:prstGeom prst="rect">
                <a:avLst/>
              </a:prstGeom>
            </p:spPr>
            <p:txBody>
              <a:bodyPr lIns="0" tIns="0" rIns="0" bIns="0" rtlCol="0" anchor="t">
                <a:spAutoFit/>
              </a:bodyPr>
              <a:lstStyle/>
              <a:p>
                <a:pPr marL="0" lvl="0" indent="0" algn="l">
                  <a:lnSpc>
                    <a:spcPts val="1299"/>
                  </a:lnSpc>
                </a:pPr>
                <a:r>
                  <a:rPr lang="en-US" sz="999" dirty="0">
                    <a:solidFill>
                      <a:srgbClr val="2B2B2B"/>
                    </a:solidFill>
                    <a:latin typeface="DM Sans" pitchFamily="2" charset="0"/>
                  </a:rPr>
                  <a:t>Welcome to Quirkify Studio – where imagination knows no bounds.</a:t>
                </a:r>
              </a:p>
            </p:txBody>
          </p:sp>
          <p:grpSp>
            <p:nvGrpSpPr>
              <p:cNvPr id="14" name="Group 13">
                <a:extLst>
                  <a:ext uri="{FF2B5EF4-FFF2-40B4-BE49-F238E27FC236}">
                    <a16:creationId xmlns:a16="http://schemas.microsoft.com/office/drawing/2014/main" id="{D121015E-6EAB-2883-90C3-35D4D5BDD3FF}"/>
                  </a:ext>
                </a:extLst>
              </p:cNvPr>
              <p:cNvGrpSpPr/>
              <p:nvPr/>
            </p:nvGrpSpPr>
            <p:grpSpPr>
              <a:xfrm>
                <a:off x="4060880" y="8346670"/>
                <a:ext cx="2749503" cy="345890"/>
                <a:chOff x="4060880" y="8346670"/>
                <a:chExt cx="2749503" cy="345890"/>
              </a:xfrm>
            </p:grpSpPr>
            <p:sp>
              <p:nvSpPr>
                <p:cNvPr id="10" name="TextBox 10"/>
                <p:cNvSpPr txBox="1"/>
                <p:nvPr/>
              </p:nvSpPr>
              <p:spPr>
                <a:xfrm>
                  <a:off x="4060880" y="8521295"/>
                  <a:ext cx="2749503" cy="171265"/>
                </a:xfrm>
                <a:prstGeom prst="rect">
                  <a:avLst/>
                </a:prstGeom>
              </p:spPr>
              <p:txBody>
                <a:bodyPr lIns="0" tIns="0" rIns="0" bIns="0" rtlCol="0" anchor="t">
                  <a:spAutoFit/>
                </a:bodyPr>
                <a:lstStyle/>
                <a:p>
                  <a:pPr>
                    <a:lnSpc>
                      <a:spcPts val="1399"/>
                    </a:lnSpc>
                    <a:spcBef>
                      <a:spcPct val="0"/>
                    </a:spcBef>
                  </a:pPr>
                  <a:r>
                    <a:rPr lang="en-US" sz="999" b="1" dirty="0">
                      <a:solidFill>
                        <a:srgbClr val="121722"/>
                      </a:solidFill>
                      <a:latin typeface="DM Sans" pitchFamily="2" charset="0"/>
                    </a:rPr>
                    <a:t>Quinlan Everhart - CEO, Quirkify Studio</a:t>
                  </a:r>
                </a:p>
              </p:txBody>
            </p:sp>
            <p:sp>
              <p:nvSpPr>
                <p:cNvPr id="11" name="TextBox 11"/>
                <p:cNvSpPr txBox="1"/>
                <p:nvPr/>
              </p:nvSpPr>
              <p:spPr>
                <a:xfrm>
                  <a:off x="4060880" y="8346670"/>
                  <a:ext cx="1401494" cy="171265"/>
                </a:xfrm>
                <a:prstGeom prst="rect">
                  <a:avLst/>
                </a:prstGeom>
              </p:spPr>
              <p:txBody>
                <a:bodyPr lIns="0" tIns="0" rIns="0" bIns="0" rtlCol="0" anchor="t">
                  <a:spAutoFit/>
                </a:bodyPr>
                <a:lstStyle/>
                <a:p>
                  <a:pPr>
                    <a:lnSpc>
                      <a:spcPts val="1399"/>
                    </a:lnSpc>
                    <a:spcBef>
                      <a:spcPct val="0"/>
                    </a:spcBef>
                  </a:pPr>
                  <a:r>
                    <a:rPr lang="en-US" sz="999" dirty="0">
                      <a:solidFill>
                        <a:srgbClr val="2B2B2B"/>
                      </a:solidFill>
                      <a:latin typeface="DM Sans" pitchFamily="2" charset="0"/>
                    </a:rPr>
                    <a:t>Best Regards,</a:t>
                  </a:r>
                </a:p>
              </p:txBody>
            </p:sp>
          </p:grpSp>
          <p:sp>
            <p:nvSpPr>
              <p:cNvPr id="18" name="TextBox 5">
                <a:extLst>
                  <a:ext uri="{FF2B5EF4-FFF2-40B4-BE49-F238E27FC236}">
                    <a16:creationId xmlns:a16="http://schemas.microsoft.com/office/drawing/2014/main" id="{5923C4DD-FF76-5971-9678-552BA310FB48}"/>
                  </a:ext>
                </a:extLst>
              </p:cNvPr>
              <p:cNvSpPr txBox="1"/>
              <p:nvPr/>
            </p:nvSpPr>
            <p:spPr>
              <a:xfrm>
                <a:off x="4060880" y="3498740"/>
                <a:ext cx="2749503" cy="161647"/>
              </a:xfrm>
              <a:prstGeom prst="rect">
                <a:avLst/>
              </a:prstGeom>
            </p:spPr>
            <p:txBody>
              <a:bodyPr lIns="0" tIns="0" rIns="0" bIns="0" rtlCol="0" anchor="t">
                <a:spAutoFit/>
              </a:bodyPr>
              <a:lstStyle/>
              <a:p>
                <a:pPr marL="0" lvl="0" indent="0" algn="l">
                  <a:lnSpc>
                    <a:spcPts val="1299"/>
                  </a:lnSpc>
                </a:pPr>
                <a:r>
                  <a:rPr lang="en-US" sz="999" b="1" u="none" strike="noStrike" dirty="0">
                    <a:solidFill>
                      <a:srgbClr val="121722"/>
                    </a:solidFill>
                    <a:latin typeface="DM Sans" pitchFamily="2" charset="0"/>
                  </a:rPr>
                  <a:t>Dear Quirkify Studio Family,</a:t>
                </a:r>
              </a:p>
            </p:txBody>
          </p:sp>
        </p:grpSp>
        <p:grpSp>
          <p:nvGrpSpPr>
            <p:cNvPr id="9" name="Group 8">
              <a:extLst>
                <a:ext uri="{FF2B5EF4-FFF2-40B4-BE49-F238E27FC236}">
                  <a16:creationId xmlns:a16="http://schemas.microsoft.com/office/drawing/2014/main" id="{718DAE1F-8CF4-C928-F959-1D2CAB4294FA}"/>
                </a:ext>
              </a:extLst>
            </p:cNvPr>
            <p:cNvGrpSpPr/>
            <p:nvPr/>
          </p:nvGrpSpPr>
          <p:grpSpPr>
            <a:xfrm>
              <a:off x="756000" y="756000"/>
              <a:ext cx="6048000" cy="462217"/>
              <a:chOff x="756000" y="756000"/>
              <a:chExt cx="6048000" cy="462217"/>
            </a:xfrm>
          </p:grpSpPr>
          <p:sp>
            <p:nvSpPr>
              <p:cNvPr id="15" name="TextBox 15"/>
              <p:cNvSpPr txBox="1"/>
              <p:nvPr/>
            </p:nvSpPr>
            <p:spPr>
              <a:xfrm>
                <a:off x="4420388" y="797396"/>
                <a:ext cx="2383612" cy="420821"/>
              </a:xfrm>
              <a:prstGeom prst="rect">
                <a:avLst/>
              </a:prstGeom>
            </p:spPr>
            <p:txBody>
              <a:bodyPr lIns="0" tIns="0" rIns="0" bIns="0" rtlCol="0" anchor="t">
                <a:spAutoFit/>
              </a:bodyPr>
              <a:lstStyle/>
              <a:p>
                <a:pPr algn="r">
                  <a:lnSpc>
                    <a:spcPts val="1079"/>
                  </a:lnSpc>
                </a:pPr>
                <a:r>
                  <a:rPr lang="en-US" sz="899" dirty="0">
                    <a:solidFill>
                      <a:srgbClr val="2B2B2B"/>
                    </a:solidFill>
                    <a:latin typeface="DM Sans" pitchFamily="2" charset="0"/>
                  </a:rPr>
                  <a:t>123 Anywhere St., Any City</a:t>
                </a:r>
              </a:p>
              <a:p>
                <a:pPr algn="r">
                  <a:lnSpc>
                    <a:spcPts val="1079"/>
                  </a:lnSpc>
                </a:pPr>
                <a:r>
                  <a:rPr lang="en-US" sz="899" dirty="0">
                    <a:solidFill>
                      <a:srgbClr val="2B2B2B"/>
                    </a:solidFill>
                    <a:latin typeface="DM Sans" pitchFamily="2" charset="0"/>
                  </a:rPr>
                  <a:t>+123-456-7890</a:t>
                </a:r>
              </a:p>
              <a:p>
                <a:pPr algn="r">
                  <a:lnSpc>
                    <a:spcPts val="1079"/>
                  </a:lnSpc>
                </a:pPr>
                <a:r>
                  <a:rPr lang="en-US" sz="899" dirty="0">
                    <a:solidFill>
                      <a:srgbClr val="2B2B2B"/>
                    </a:solidFill>
                    <a:latin typeface="DM Sans" pitchFamily="2" charset="0"/>
                  </a:rPr>
                  <a:t>www.Quirkifystudio.com</a:t>
                </a:r>
              </a:p>
            </p:txBody>
          </p:sp>
          <p:sp>
            <p:nvSpPr>
              <p:cNvPr id="16" name="Freeform 16"/>
              <p:cNvSpPr/>
              <p:nvPr/>
            </p:nvSpPr>
            <p:spPr>
              <a:xfrm>
                <a:off x="756000" y="756000"/>
                <a:ext cx="427680" cy="427680"/>
              </a:xfrm>
              <a:custGeom>
                <a:avLst/>
                <a:gdLst/>
                <a:ahLst/>
                <a:cxnLst/>
                <a:rect l="l" t="t" r="r" b="b"/>
                <a:pathLst>
                  <a:path w="570240" h="570240">
                    <a:moveTo>
                      <a:pt x="0" y="0"/>
                    </a:moveTo>
                    <a:lnTo>
                      <a:pt x="570240" y="0"/>
                    </a:lnTo>
                    <a:lnTo>
                      <a:pt x="570240" y="570240"/>
                    </a:lnTo>
                    <a:lnTo>
                      <a:pt x="0" y="57024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dirty="0"/>
              </a:p>
            </p:txBody>
          </p:sp>
          <p:sp>
            <p:nvSpPr>
              <p:cNvPr id="17" name="TextBox 17"/>
              <p:cNvSpPr txBox="1"/>
              <p:nvPr/>
            </p:nvSpPr>
            <p:spPr>
              <a:xfrm>
                <a:off x="1346075" y="756000"/>
                <a:ext cx="1191707" cy="461665"/>
              </a:xfrm>
              <a:prstGeom prst="rect">
                <a:avLst/>
              </a:prstGeom>
            </p:spPr>
            <p:txBody>
              <a:bodyPr lIns="0" tIns="0" rIns="0" bIns="0" rtlCol="0" anchor="t">
                <a:spAutoFit/>
              </a:bodyPr>
              <a:lstStyle/>
              <a:p>
                <a:pPr>
                  <a:lnSpc>
                    <a:spcPts val="1817"/>
                  </a:lnSpc>
                </a:pPr>
                <a:r>
                  <a:rPr lang="en-US" sz="1502" b="1" dirty="0">
                    <a:solidFill>
                      <a:srgbClr val="121722"/>
                    </a:solidFill>
                    <a:latin typeface="Red Hat Display" panose="02010303040201060303" pitchFamily="2" charset="0"/>
                  </a:rPr>
                  <a:t>QUIRKIFY </a:t>
                </a:r>
              </a:p>
              <a:p>
                <a:pPr>
                  <a:lnSpc>
                    <a:spcPts val="1817"/>
                  </a:lnSpc>
                </a:pPr>
                <a:r>
                  <a:rPr lang="en-US" sz="1502" b="1" dirty="0">
                    <a:solidFill>
                      <a:srgbClr val="121722"/>
                    </a:solidFill>
                    <a:latin typeface="Red Hat Display" panose="02010303040201060303" pitchFamily="2" charset="0"/>
                  </a:rPr>
                  <a:t>STUDIO</a:t>
                </a:r>
              </a:p>
            </p:txBody>
          </p:sp>
        </p:grpSp>
        <p:sp>
          <p:nvSpPr>
            <p:cNvPr id="13" name="TemplateLAB"/>
            <p:cNvSpPr/>
            <p:nvPr/>
          </p:nvSpPr>
          <p:spPr>
            <a:xfrm>
              <a:off x="756000" y="10042856"/>
              <a:ext cx="732059" cy="120790"/>
            </a:xfrm>
            <a:custGeom>
              <a:avLst/>
              <a:gdLst/>
              <a:ahLst/>
              <a:cxnLst/>
              <a:rect l="l" t="t" r="r" b="b"/>
              <a:pathLst>
                <a:path w="732059" h="120790">
                  <a:moveTo>
                    <a:pt x="0" y="0"/>
                  </a:moveTo>
                  <a:lnTo>
                    <a:pt x="732059" y="0"/>
                  </a:lnTo>
                  <a:lnTo>
                    <a:pt x="732059" y="120790"/>
                  </a:lnTo>
                  <a:lnTo>
                    <a:pt x="0" y="12079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dirty="0"/>
            </a:p>
          </p:txBody>
        </p:sp>
      </p:grpSp>
    </p:spTree>
    <p:custDataLst>
      <p:tags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21722"/>
        </a:solidFill>
        <a:effectLst/>
      </p:bgPr>
    </p:bg>
    <p:spTree>
      <p:nvGrpSpPr>
        <p:cNvPr id="1" name=""/>
        <p:cNvGrpSpPr/>
        <p:nvPr/>
      </p:nvGrpSpPr>
      <p:grpSpPr>
        <a:xfrm>
          <a:off x="0" y="0"/>
          <a:ext cx="0" cy="0"/>
          <a:chOff x="0" y="0"/>
          <a:chExt cx="0" cy="0"/>
        </a:xfrm>
      </p:grpSpPr>
      <p:grpSp>
        <p:nvGrpSpPr>
          <p:cNvPr id="29" name="Group 7 - Page 4">
            <a:extLst>
              <a:ext uri="{FF2B5EF4-FFF2-40B4-BE49-F238E27FC236}">
                <a16:creationId xmlns:a16="http://schemas.microsoft.com/office/drawing/2014/main" id="{510E1D9C-3F81-4C06-6D99-70E597FF8A58}"/>
              </a:ext>
            </a:extLst>
          </p:cNvPr>
          <p:cNvGrpSpPr/>
          <p:nvPr/>
        </p:nvGrpSpPr>
        <p:grpSpPr>
          <a:xfrm>
            <a:off x="756000" y="756000"/>
            <a:ext cx="6048000" cy="9416022"/>
            <a:chOff x="756000" y="756000"/>
            <a:chExt cx="6048000" cy="9416022"/>
          </a:xfrm>
        </p:grpSpPr>
        <p:sp>
          <p:nvSpPr>
            <p:cNvPr id="25" name="TextBox 25"/>
            <p:cNvSpPr txBox="1"/>
            <p:nvPr/>
          </p:nvSpPr>
          <p:spPr>
            <a:xfrm>
              <a:off x="756000" y="10015056"/>
              <a:ext cx="986324" cy="156966"/>
            </a:xfrm>
            <a:prstGeom prst="rect">
              <a:avLst/>
            </a:prstGeom>
          </p:spPr>
          <p:txBody>
            <a:bodyPr lIns="0" tIns="0" rIns="0" bIns="0" rtlCol="0" anchor="t">
              <a:spAutoFit/>
            </a:bodyPr>
            <a:lstStyle/>
            <a:p>
              <a:pPr marL="0" lvl="0" indent="0" algn="just">
                <a:lnSpc>
                  <a:spcPts val="1260"/>
                </a:lnSpc>
                <a:spcBef>
                  <a:spcPct val="0"/>
                </a:spcBef>
              </a:pPr>
              <a:r>
                <a:rPr lang="en-US" sz="900" b="1" dirty="0">
                  <a:solidFill>
                    <a:srgbClr val="FFFFFF"/>
                  </a:solidFill>
                  <a:latin typeface="Red Hat Display" panose="02010303040201060303" pitchFamily="2" charset="0"/>
                </a:rPr>
                <a:t>PAGE 4 </a:t>
              </a:r>
              <a:r>
                <a:rPr lang="en-US" sz="900" b="1" dirty="0">
                  <a:solidFill>
                    <a:srgbClr val="FFFFFF"/>
                  </a:solidFill>
                  <a:latin typeface="Red Hat Display"/>
                </a:rPr>
                <a:t>I</a:t>
              </a:r>
            </a:p>
          </p:txBody>
        </p:sp>
        <p:grpSp>
          <p:nvGrpSpPr>
            <p:cNvPr id="28" name="Group 27">
              <a:extLst>
                <a:ext uri="{FF2B5EF4-FFF2-40B4-BE49-F238E27FC236}">
                  <a16:creationId xmlns:a16="http://schemas.microsoft.com/office/drawing/2014/main" id="{1C0B5AE0-176F-513F-5C1B-F1671283EFAF}"/>
                </a:ext>
              </a:extLst>
            </p:cNvPr>
            <p:cNvGrpSpPr/>
            <p:nvPr/>
          </p:nvGrpSpPr>
          <p:grpSpPr>
            <a:xfrm>
              <a:off x="756000" y="6707657"/>
              <a:ext cx="6048000" cy="3029452"/>
              <a:chOff x="756000" y="6707657"/>
              <a:chExt cx="6048000" cy="3029452"/>
            </a:xfrm>
          </p:grpSpPr>
          <p:pic>
            <p:nvPicPr>
              <p:cNvPr id="3" name="Picture 3"/>
              <p:cNvPicPr>
                <a:picLocks noChangeAspect="1"/>
              </p:cNvPicPr>
              <p:nvPr/>
            </p:nvPicPr>
            <p:blipFill>
              <a:blip r:embed="rId2"/>
              <a:srcRect l="21551" r="21551"/>
              <a:stretch>
                <a:fillRect/>
              </a:stretch>
            </p:blipFill>
            <p:spPr>
              <a:xfrm>
                <a:off x="3780000" y="6707657"/>
                <a:ext cx="3024000" cy="3029451"/>
              </a:xfrm>
              <a:prstGeom prst="rect">
                <a:avLst/>
              </a:prstGeom>
            </p:spPr>
          </p:pic>
          <p:pic>
            <p:nvPicPr>
              <p:cNvPr id="5" name="Picture 5"/>
              <p:cNvPicPr>
                <a:picLocks noChangeAspect="1"/>
              </p:cNvPicPr>
              <p:nvPr/>
            </p:nvPicPr>
            <p:blipFill>
              <a:blip r:embed="rId3"/>
              <a:srcRect l="27210" t="1096" b="28306"/>
              <a:stretch>
                <a:fillRect/>
              </a:stretch>
            </p:blipFill>
            <p:spPr>
              <a:xfrm>
                <a:off x="756000" y="8222383"/>
                <a:ext cx="2970113" cy="1514726"/>
              </a:xfrm>
              <a:prstGeom prst="rect">
                <a:avLst/>
              </a:prstGeom>
            </p:spPr>
          </p:pic>
          <p:pic>
            <p:nvPicPr>
              <p:cNvPr id="7" name="Picture 7"/>
              <p:cNvPicPr>
                <a:picLocks noChangeAspect="1"/>
              </p:cNvPicPr>
              <p:nvPr/>
            </p:nvPicPr>
            <p:blipFill>
              <a:blip r:embed="rId4"/>
              <a:srcRect t="12972" b="12972"/>
              <a:stretch>
                <a:fillRect/>
              </a:stretch>
            </p:blipFill>
            <p:spPr>
              <a:xfrm>
                <a:off x="756000" y="6707657"/>
                <a:ext cx="2970113" cy="1465439"/>
              </a:xfrm>
              <a:prstGeom prst="rect">
                <a:avLst/>
              </a:prstGeom>
            </p:spPr>
          </p:pic>
        </p:grpSp>
        <p:grpSp>
          <p:nvGrpSpPr>
            <p:cNvPr id="27" name="Group 26">
              <a:extLst>
                <a:ext uri="{FF2B5EF4-FFF2-40B4-BE49-F238E27FC236}">
                  <a16:creationId xmlns:a16="http://schemas.microsoft.com/office/drawing/2014/main" id="{B21AF91A-8C96-1D6E-1E7E-200F7BEEA27E}"/>
                </a:ext>
              </a:extLst>
            </p:cNvPr>
            <p:cNvGrpSpPr/>
            <p:nvPr/>
          </p:nvGrpSpPr>
          <p:grpSpPr>
            <a:xfrm>
              <a:off x="756000" y="2792022"/>
              <a:ext cx="6048000" cy="3460359"/>
              <a:chOff x="756000" y="2792022"/>
              <a:chExt cx="6048000" cy="3460359"/>
            </a:xfrm>
          </p:grpSpPr>
          <p:sp>
            <p:nvSpPr>
              <p:cNvPr id="8" name="AutoShape 8"/>
              <p:cNvSpPr/>
              <p:nvPr/>
            </p:nvSpPr>
            <p:spPr>
              <a:xfrm>
                <a:off x="756000" y="5171668"/>
                <a:ext cx="6048000" cy="0"/>
              </a:xfrm>
              <a:prstGeom prst="line">
                <a:avLst/>
              </a:prstGeom>
              <a:ln w="9525" cap="rnd">
                <a:solidFill>
                  <a:srgbClr val="FFFFFF">
                    <a:alpha val="23922"/>
                  </a:srgbClr>
                </a:solidFill>
                <a:prstDash val="solid"/>
                <a:headEnd type="none" w="sm" len="sm"/>
                <a:tailEnd type="none" w="sm" len="sm"/>
              </a:ln>
            </p:spPr>
            <p:txBody>
              <a:bodyPr/>
              <a:lstStyle/>
              <a:p>
                <a:endParaRPr lang="en-US" dirty="0"/>
              </a:p>
            </p:txBody>
          </p:sp>
          <p:sp>
            <p:nvSpPr>
              <p:cNvPr id="9" name="AutoShape 9"/>
              <p:cNvSpPr/>
              <p:nvPr/>
            </p:nvSpPr>
            <p:spPr>
              <a:xfrm>
                <a:off x="756000" y="3868769"/>
                <a:ext cx="6048000" cy="0"/>
              </a:xfrm>
              <a:prstGeom prst="line">
                <a:avLst/>
              </a:prstGeom>
              <a:ln w="9525" cap="rnd">
                <a:solidFill>
                  <a:srgbClr val="FFFFFF">
                    <a:alpha val="23922"/>
                  </a:srgbClr>
                </a:solidFill>
                <a:prstDash val="solid"/>
                <a:headEnd type="none" w="sm" len="sm"/>
                <a:tailEnd type="none" w="sm" len="sm"/>
              </a:ln>
            </p:spPr>
            <p:txBody>
              <a:bodyPr/>
              <a:lstStyle/>
              <a:p>
                <a:endParaRPr lang="en-US" dirty="0"/>
              </a:p>
            </p:txBody>
          </p:sp>
          <p:grpSp>
            <p:nvGrpSpPr>
              <p:cNvPr id="6" name="Group 5">
                <a:extLst>
                  <a:ext uri="{FF2B5EF4-FFF2-40B4-BE49-F238E27FC236}">
                    <a16:creationId xmlns:a16="http://schemas.microsoft.com/office/drawing/2014/main" id="{E2EC1802-4EE8-5F4D-2449-C1B97854300A}"/>
                  </a:ext>
                </a:extLst>
              </p:cNvPr>
              <p:cNvGrpSpPr/>
              <p:nvPr/>
            </p:nvGrpSpPr>
            <p:grpSpPr>
              <a:xfrm>
                <a:off x="756000" y="2792022"/>
                <a:ext cx="6048000" cy="845297"/>
                <a:chOff x="756000" y="2792022"/>
                <a:chExt cx="6048000" cy="845297"/>
              </a:xfrm>
            </p:grpSpPr>
            <p:sp>
              <p:nvSpPr>
                <p:cNvPr id="16" name="TextBox 16"/>
                <p:cNvSpPr txBox="1"/>
                <p:nvPr/>
              </p:nvSpPr>
              <p:spPr>
                <a:xfrm>
                  <a:off x="756000" y="2792022"/>
                  <a:ext cx="2253629" cy="424147"/>
                </a:xfrm>
                <a:prstGeom prst="rect">
                  <a:avLst/>
                </a:prstGeom>
              </p:spPr>
              <p:txBody>
                <a:bodyPr lIns="0" tIns="0" rIns="0" bIns="0" rtlCol="0" anchor="t">
                  <a:spAutoFit/>
                </a:bodyPr>
                <a:lstStyle/>
                <a:p>
                  <a:pPr marL="0" lvl="0" indent="0" algn="l">
                    <a:lnSpc>
                      <a:spcPts val="3200"/>
                    </a:lnSpc>
                    <a:spcBef>
                      <a:spcPct val="0"/>
                    </a:spcBef>
                  </a:pPr>
                  <a:r>
                    <a:rPr lang="en-US" sz="3200" b="1" spc="-160" dirty="0">
                      <a:solidFill>
                        <a:srgbClr val="D1FF95"/>
                      </a:solidFill>
                      <a:latin typeface="Red Hat Display" panose="02010303040201060303" pitchFamily="2" charset="0"/>
                    </a:rPr>
                    <a:t>01</a:t>
                  </a:r>
                </a:p>
              </p:txBody>
            </p:sp>
            <p:sp>
              <p:nvSpPr>
                <p:cNvPr id="17" name="TextBox 17"/>
                <p:cNvSpPr txBox="1"/>
                <p:nvPr/>
              </p:nvSpPr>
              <p:spPr>
                <a:xfrm>
                  <a:off x="756000" y="3216169"/>
                  <a:ext cx="2571764" cy="353238"/>
                </a:xfrm>
                <a:prstGeom prst="rect">
                  <a:avLst/>
                </a:prstGeom>
              </p:spPr>
              <p:txBody>
                <a:bodyPr lIns="0" tIns="0" rIns="0" bIns="0" rtlCol="0" anchor="t">
                  <a:spAutoFit/>
                </a:bodyPr>
                <a:lstStyle/>
                <a:p>
                  <a:pPr>
                    <a:lnSpc>
                      <a:spcPts val="1375"/>
                    </a:lnSpc>
                  </a:pPr>
                  <a:r>
                    <a:rPr lang="en-US" sz="1100" b="1" dirty="0">
                      <a:solidFill>
                        <a:srgbClr val="FFFFFF"/>
                      </a:solidFill>
                      <a:latin typeface="Red Hat Display" panose="02010303040201060303" pitchFamily="2" charset="0"/>
                    </a:rPr>
                    <a:t>ACCESS </a:t>
                  </a:r>
                </a:p>
                <a:p>
                  <a:pPr>
                    <a:lnSpc>
                      <a:spcPts val="1375"/>
                    </a:lnSpc>
                  </a:pPr>
                  <a:r>
                    <a:rPr lang="en-US" sz="1100" b="1" dirty="0">
                      <a:solidFill>
                        <a:srgbClr val="FFFFFF"/>
                      </a:solidFill>
                      <a:latin typeface="Red Hat Display" panose="02010303040201060303" pitchFamily="2" charset="0"/>
                    </a:rPr>
                    <a:t>CONTROL MEASURES</a:t>
                  </a:r>
                </a:p>
              </p:txBody>
            </p:sp>
            <p:sp>
              <p:nvSpPr>
                <p:cNvPr id="18" name="TextBox 18"/>
                <p:cNvSpPr txBox="1"/>
                <p:nvPr/>
              </p:nvSpPr>
              <p:spPr>
                <a:xfrm>
                  <a:off x="2894502" y="2979190"/>
                  <a:ext cx="3909498" cy="658129"/>
                </a:xfrm>
                <a:prstGeom prst="rect">
                  <a:avLst/>
                </a:prstGeom>
              </p:spPr>
              <p:txBody>
                <a:bodyPr lIns="0" tIns="0" rIns="0" bIns="0" rtlCol="0" anchor="t">
                  <a:spAutoFit/>
                </a:bodyPr>
                <a:lstStyle/>
                <a:p>
                  <a:pPr marL="0" lvl="0" indent="0" algn="l">
                    <a:lnSpc>
                      <a:spcPts val="1260"/>
                    </a:lnSpc>
                    <a:spcBef>
                      <a:spcPct val="0"/>
                    </a:spcBef>
                  </a:pPr>
                  <a:r>
                    <a:rPr lang="en-US" sz="900" dirty="0">
                      <a:solidFill>
                        <a:srgbClr val="FFFFFF">
                          <a:alpha val="94902"/>
                        </a:srgbClr>
                      </a:solidFill>
                      <a:latin typeface="DM Sans" pitchFamily="2" charset="0"/>
                    </a:rPr>
                    <a:t>Access control systems regulate workplace entry, ensuring only authorized individuals gain access. By using key cards or biometrics, organizations enhance security against internal threats and external unauthorized entry, safeguarding personnel and assets.</a:t>
                  </a:r>
                </a:p>
              </p:txBody>
            </p:sp>
          </p:grpSp>
          <p:grpSp>
            <p:nvGrpSpPr>
              <p:cNvPr id="11" name="Group 10">
                <a:extLst>
                  <a:ext uri="{FF2B5EF4-FFF2-40B4-BE49-F238E27FC236}">
                    <a16:creationId xmlns:a16="http://schemas.microsoft.com/office/drawing/2014/main" id="{1C9DC7E2-9DD7-93E7-696D-F7D364F29BA7}"/>
                  </a:ext>
                </a:extLst>
              </p:cNvPr>
              <p:cNvGrpSpPr/>
              <p:nvPr/>
            </p:nvGrpSpPr>
            <p:grpSpPr>
              <a:xfrm>
                <a:off x="756000" y="4100219"/>
                <a:ext cx="6048000" cy="839999"/>
                <a:chOff x="756000" y="4097421"/>
                <a:chExt cx="6048000" cy="839999"/>
              </a:xfrm>
            </p:grpSpPr>
            <p:sp>
              <p:nvSpPr>
                <p:cNvPr id="19" name="TextBox 19"/>
                <p:cNvSpPr txBox="1"/>
                <p:nvPr/>
              </p:nvSpPr>
              <p:spPr>
                <a:xfrm>
                  <a:off x="756000" y="4097421"/>
                  <a:ext cx="2253629" cy="424180"/>
                </a:xfrm>
                <a:prstGeom prst="rect">
                  <a:avLst/>
                </a:prstGeom>
              </p:spPr>
              <p:txBody>
                <a:bodyPr lIns="0" tIns="0" rIns="0" bIns="0" rtlCol="0" anchor="t">
                  <a:spAutoFit/>
                </a:bodyPr>
                <a:lstStyle/>
                <a:p>
                  <a:pPr marL="0" lvl="0" indent="0" algn="l">
                    <a:lnSpc>
                      <a:spcPts val="3200"/>
                    </a:lnSpc>
                    <a:spcBef>
                      <a:spcPct val="0"/>
                    </a:spcBef>
                  </a:pPr>
                  <a:r>
                    <a:rPr lang="en-US" sz="3200" b="1" spc="-160" dirty="0">
                      <a:solidFill>
                        <a:srgbClr val="D1FF95"/>
                      </a:solidFill>
                      <a:latin typeface="Red Hat Display" panose="02010303040201060303" pitchFamily="2" charset="0"/>
                    </a:rPr>
                    <a:t>02</a:t>
                  </a:r>
                </a:p>
              </p:txBody>
            </p:sp>
            <p:sp>
              <p:nvSpPr>
                <p:cNvPr id="20" name="TextBox 20"/>
                <p:cNvSpPr txBox="1"/>
                <p:nvPr/>
              </p:nvSpPr>
              <p:spPr>
                <a:xfrm>
                  <a:off x="756000" y="4521601"/>
                  <a:ext cx="2571764" cy="353238"/>
                </a:xfrm>
                <a:prstGeom prst="rect">
                  <a:avLst/>
                </a:prstGeom>
              </p:spPr>
              <p:txBody>
                <a:bodyPr lIns="0" tIns="0" rIns="0" bIns="0" rtlCol="0" anchor="t">
                  <a:spAutoFit/>
                </a:bodyPr>
                <a:lstStyle/>
                <a:p>
                  <a:pPr>
                    <a:lnSpc>
                      <a:spcPts val="1375"/>
                    </a:lnSpc>
                  </a:pPr>
                  <a:r>
                    <a:rPr lang="en-US" sz="1100" b="1" dirty="0">
                      <a:solidFill>
                        <a:srgbClr val="FFFFFF"/>
                      </a:solidFill>
                      <a:latin typeface="Red Hat Display" panose="02010303040201060303" pitchFamily="2" charset="0"/>
                    </a:rPr>
                    <a:t>EMERGENCY </a:t>
                  </a:r>
                </a:p>
                <a:p>
                  <a:pPr>
                    <a:lnSpc>
                      <a:spcPts val="1375"/>
                    </a:lnSpc>
                  </a:pPr>
                  <a:r>
                    <a:rPr lang="en-US" sz="1100" b="1" dirty="0">
                      <a:solidFill>
                        <a:srgbClr val="FFFFFF"/>
                      </a:solidFill>
                      <a:latin typeface="Red Hat Display" panose="02010303040201060303" pitchFamily="2" charset="0"/>
                    </a:rPr>
                    <a:t>RESPONSE PLANNING</a:t>
                  </a:r>
                </a:p>
              </p:txBody>
            </p:sp>
            <p:sp>
              <p:nvSpPr>
                <p:cNvPr id="21" name="TextBox 21"/>
                <p:cNvSpPr txBox="1"/>
                <p:nvPr/>
              </p:nvSpPr>
              <p:spPr>
                <a:xfrm>
                  <a:off x="2894502" y="4279291"/>
                  <a:ext cx="3909498" cy="658129"/>
                </a:xfrm>
                <a:prstGeom prst="rect">
                  <a:avLst/>
                </a:prstGeom>
              </p:spPr>
              <p:txBody>
                <a:bodyPr lIns="0" tIns="0" rIns="0" bIns="0" rtlCol="0" anchor="t">
                  <a:spAutoFit/>
                </a:bodyPr>
                <a:lstStyle/>
                <a:p>
                  <a:pPr marL="0" lvl="0" indent="0" algn="l">
                    <a:lnSpc>
                      <a:spcPts val="1260"/>
                    </a:lnSpc>
                    <a:spcBef>
                      <a:spcPct val="0"/>
                    </a:spcBef>
                  </a:pPr>
                  <a:r>
                    <a:rPr lang="en-US" sz="900" u="none" strike="noStrike" dirty="0">
                      <a:solidFill>
                        <a:srgbClr val="FFFFFF">
                          <a:alpha val="94902"/>
                        </a:srgbClr>
                      </a:solidFill>
                      <a:latin typeface="DM Sans" pitchFamily="2" charset="0"/>
                    </a:rPr>
                    <a:t>Emergency response planning encompasses strategies for addressing various workplace crises, considering both human and external factors. </a:t>
                  </a:r>
                </a:p>
                <a:p>
                  <a:pPr marL="0" lvl="0" indent="0" algn="l">
                    <a:lnSpc>
                      <a:spcPts val="1260"/>
                    </a:lnSpc>
                    <a:spcBef>
                      <a:spcPct val="0"/>
                    </a:spcBef>
                  </a:pPr>
                  <a:r>
                    <a:rPr lang="en-US" sz="900" u="none" strike="noStrike" dirty="0">
                      <a:solidFill>
                        <a:srgbClr val="FFFFFF">
                          <a:alpha val="94902"/>
                        </a:srgbClr>
                      </a:solidFill>
                      <a:latin typeface="DM Sans" pitchFamily="2" charset="0"/>
                    </a:rPr>
                    <a:t>It includes drills, communication protocols, and predefined evacuation routes, ensuring a coordinated and effective response to emergencies.</a:t>
                  </a:r>
                </a:p>
              </p:txBody>
            </p:sp>
          </p:grpSp>
          <p:grpSp>
            <p:nvGrpSpPr>
              <p:cNvPr id="26" name="Group 25">
                <a:extLst>
                  <a:ext uri="{FF2B5EF4-FFF2-40B4-BE49-F238E27FC236}">
                    <a16:creationId xmlns:a16="http://schemas.microsoft.com/office/drawing/2014/main" id="{DD3AF4D2-9697-7E62-90AF-D8730909771E}"/>
                  </a:ext>
                </a:extLst>
              </p:cNvPr>
              <p:cNvGrpSpPr/>
              <p:nvPr/>
            </p:nvGrpSpPr>
            <p:grpSpPr>
              <a:xfrm>
                <a:off x="756000" y="5403117"/>
                <a:ext cx="6048000" cy="849264"/>
                <a:chOff x="756000" y="5403117"/>
                <a:chExt cx="6048000" cy="849264"/>
              </a:xfrm>
            </p:grpSpPr>
            <p:sp>
              <p:nvSpPr>
                <p:cNvPr id="22" name="TextBox 22"/>
                <p:cNvSpPr txBox="1"/>
                <p:nvPr/>
              </p:nvSpPr>
              <p:spPr>
                <a:xfrm>
                  <a:off x="756000" y="5403117"/>
                  <a:ext cx="2253629" cy="424180"/>
                </a:xfrm>
                <a:prstGeom prst="rect">
                  <a:avLst/>
                </a:prstGeom>
              </p:spPr>
              <p:txBody>
                <a:bodyPr lIns="0" tIns="0" rIns="0" bIns="0" rtlCol="0" anchor="t">
                  <a:spAutoFit/>
                </a:bodyPr>
                <a:lstStyle/>
                <a:p>
                  <a:pPr marL="0" lvl="0" indent="0" algn="l">
                    <a:lnSpc>
                      <a:spcPts val="3200"/>
                    </a:lnSpc>
                    <a:spcBef>
                      <a:spcPct val="0"/>
                    </a:spcBef>
                  </a:pPr>
                  <a:r>
                    <a:rPr lang="en-US" sz="3200" b="1" spc="-160" dirty="0">
                      <a:solidFill>
                        <a:srgbClr val="D1FF95"/>
                      </a:solidFill>
                      <a:latin typeface="Red Hat Display" panose="02010303040201060303" pitchFamily="2" charset="0"/>
                    </a:rPr>
                    <a:t>03</a:t>
                  </a:r>
                </a:p>
              </p:txBody>
            </p:sp>
            <p:sp>
              <p:nvSpPr>
                <p:cNvPr id="23" name="TextBox 23"/>
                <p:cNvSpPr txBox="1"/>
                <p:nvPr/>
              </p:nvSpPr>
              <p:spPr>
                <a:xfrm>
                  <a:off x="756000" y="5827297"/>
                  <a:ext cx="2571764" cy="353238"/>
                </a:xfrm>
                <a:prstGeom prst="rect">
                  <a:avLst/>
                </a:prstGeom>
              </p:spPr>
              <p:txBody>
                <a:bodyPr lIns="0" tIns="0" rIns="0" bIns="0" rtlCol="0" anchor="t">
                  <a:spAutoFit/>
                </a:bodyPr>
                <a:lstStyle/>
                <a:p>
                  <a:pPr>
                    <a:lnSpc>
                      <a:spcPts val="1375"/>
                    </a:lnSpc>
                  </a:pPr>
                  <a:r>
                    <a:rPr lang="en-US" sz="1100" b="1" dirty="0">
                      <a:solidFill>
                        <a:srgbClr val="FFFFFF"/>
                      </a:solidFill>
                      <a:latin typeface="Red Hat Display" panose="02010303040201060303" pitchFamily="2" charset="0"/>
                    </a:rPr>
                    <a:t>CONFLICT </a:t>
                  </a:r>
                </a:p>
                <a:p>
                  <a:pPr>
                    <a:lnSpc>
                      <a:spcPts val="1375"/>
                    </a:lnSpc>
                  </a:pPr>
                  <a:r>
                    <a:rPr lang="en-US" sz="1100" b="1" dirty="0">
                      <a:solidFill>
                        <a:srgbClr val="FFFFFF"/>
                      </a:solidFill>
                      <a:latin typeface="Red Hat Display" panose="02010303040201060303" pitchFamily="2" charset="0"/>
                    </a:rPr>
                    <a:t>RESOLUTION TRAINING</a:t>
                  </a:r>
                </a:p>
              </p:txBody>
            </p:sp>
            <p:sp>
              <p:nvSpPr>
                <p:cNvPr id="24" name="TextBox 24"/>
                <p:cNvSpPr txBox="1"/>
                <p:nvPr/>
              </p:nvSpPr>
              <p:spPr>
                <a:xfrm>
                  <a:off x="2894502" y="5594252"/>
                  <a:ext cx="3909498" cy="658129"/>
                </a:xfrm>
                <a:prstGeom prst="rect">
                  <a:avLst/>
                </a:prstGeom>
              </p:spPr>
              <p:txBody>
                <a:bodyPr lIns="0" tIns="0" rIns="0" bIns="0" rtlCol="0" anchor="t">
                  <a:spAutoFit/>
                </a:bodyPr>
                <a:lstStyle/>
                <a:p>
                  <a:pPr>
                    <a:lnSpc>
                      <a:spcPts val="1260"/>
                    </a:lnSpc>
                  </a:pPr>
                  <a:r>
                    <a:rPr lang="en-US" sz="900" dirty="0">
                      <a:solidFill>
                        <a:srgbClr val="FFFFFF">
                          <a:alpha val="94902"/>
                        </a:srgbClr>
                      </a:solidFill>
                      <a:latin typeface="DM Sans" pitchFamily="2" charset="0"/>
                    </a:rPr>
                    <a:t>Conflict resolution training empowers employees with effective interpersonal skills, equipping them with communication and </a:t>
                  </a:r>
                </a:p>
                <a:p>
                  <a:pPr marL="0" lvl="0" indent="0" algn="l">
                    <a:lnSpc>
                      <a:spcPts val="1260"/>
                    </a:lnSpc>
                    <a:spcBef>
                      <a:spcPct val="0"/>
                    </a:spcBef>
                  </a:pPr>
                  <a:r>
                    <a:rPr lang="en-US" sz="900" dirty="0">
                      <a:solidFill>
                        <a:srgbClr val="FFFFFF">
                          <a:alpha val="94902"/>
                        </a:srgbClr>
                      </a:solidFill>
                      <a:latin typeface="DM Sans" pitchFamily="2" charset="0"/>
                    </a:rPr>
                    <a:t>problem-solving tools. This reduces the potential for workplace disruptions caused by human conflicts within organizations.</a:t>
                  </a:r>
                </a:p>
              </p:txBody>
            </p:sp>
          </p:grpSp>
        </p:grpSp>
        <p:sp>
          <p:nvSpPr>
            <p:cNvPr id="15" name="TextBox 15"/>
            <p:cNvSpPr txBox="1"/>
            <p:nvPr/>
          </p:nvSpPr>
          <p:spPr>
            <a:xfrm>
              <a:off x="756000" y="1658751"/>
              <a:ext cx="4710266" cy="544013"/>
            </a:xfrm>
            <a:prstGeom prst="rect">
              <a:avLst/>
            </a:prstGeom>
          </p:spPr>
          <p:txBody>
            <a:bodyPr lIns="0" tIns="0" rIns="0" bIns="0" rtlCol="0" anchor="t">
              <a:spAutoFit/>
            </a:bodyPr>
            <a:lstStyle/>
            <a:p>
              <a:pPr marL="0" lvl="0" indent="0" algn="l">
                <a:lnSpc>
                  <a:spcPts val="4227"/>
                </a:lnSpc>
                <a:spcBef>
                  <a:spcPct val="0"/>
                </a:spcBef>
              </a:pPr>
              <a:r>
                <a:rPr lang="en-US" sz="3850" b="1" dirty="0">
                  <a:solidFill>
                    <a:srgbClr val="FFFFFF"/>
                  </a:solidFill>
                  <a:latin typeface="Red Hat Display" panose="02010303040201060303" pitchFamily="2" charset="0"/>
                </a:rPr>
                <a:t>Safety First</a:t>
              </a:r>
            </a:p>
          </p:txBody>
        </p:sp>
        <p:grpSp>
          <p:nvGrpSpPr>
            <p:cNvPr id="4" name="Group 3">
              <a:extLst>
                <a:ext uri="{FF2B5EF4-FFF2-40B4-BE49-F238E27FC236}">
                  <a16:creationId xmlns:a16="http://schemas.microsoft.com/office/drawing/2014/main" id="{28CE3E02-234F-3FEE-2761-D2CE9A3DEE01}"/>
                </a:ext>
              </a:extLst>
            </p:cNvPr>
            <p:cNvGrpSpPr/>
            <p:nvPr/>
          </p:nvGrpSpPr>
          <p:grpSpPr>
            <a:xfrm>
              <a:off x="756000" y="756000"/>
              <a:ext cx="6048000" cy="462217"/>
              <a:chOff x="756000" y="756000"/>
              <a:chExt cx="6048000" cy="462217"/>
            </a:xfrm>
          </p:grpSpPr>
          <p:sp>
            <p:nvSpPr>
              <p:cNvPr id="12" name="TextBox 12"/>
              <p:cNvSpPr txBox="1"/>
              <p:nvPr/>
            </p:nvSpPr>
            <p:spPr>
              <a:xfrm>
                <a:off x="4420388" y="797396"/>
                <a:ext cx="2383612" cy="420821"/>
              </a:xfrm>
              <a:prstGeom prst="rect">
                <a:avLst/>
              </a:prstGeom>
            </p:spPr>
            <p:txBody>
              <a:bodyPr lIns="0" tIns="0" rIns="0" bIns="0" rtlCol="0" anchor="t">
                <a:spAutoFit/>
              </a:bodyPr>
              <a:lstStyle/>
              <a:p>
                <a:pPr algn="r">
                  <a:lnSpc>
                    <a:spcPts val="1079"/>
                  </a:lnSpc>
                </a:pPr>
                <a:r>
                  <a:rPr lang="en-US" sz="899" dirty="0">
                    <a:solidFill>
                      <a:srgbClr val="FFFFFF"/>
                    </a:solidFill>
                    <a:latin typeface="DM Sans" pitchFamily="2" charset="0"/>
                  </a:rPr>
                  <a:t>123 Anywhere St., Any City</a:t>
                </a:r>
              </a:p>
              <a:p>
                <a:pPr algn="r">
                  <a:lnSpc>
                    <a:spcPts val="1079"/>
                  </a:lnSpc>
                </a:pPr>
                <a:r>
                  <a:rPr lang="en-US" sz="899" dirty="0">
                    <a:solidFill>
                      <a:srgbClr val="FFFFFF"/>
                    </a:solidFill>
                    <a:latin typeface="DM Sans" pitchFamily="2" charset="0"/>
                  </a:rPr>
                  <a:t>+123-456-7890</a:t>
                </a:r>
              </a:p>
              <a:p>
                <a:pPr algn="r">
                  <a:lnSpc>
                    <a:spcPts val="1079"/>
                  </a:lnSpc>
                </a:pPr>
                <a:r>
                  <a:rPr lang="en-US" sz="899" dirty="0">
                    <a:solidFill>
                      <a:srgbClr val="FFFFFF"/>
                    </a:solidFill>
                    <a:latin typeface="DM Sans" pitchFamily="2" charset="0"/>
                  </a:rPr>
                  <a:t>www.Quirkifystudio.com</a:t>
                </a:r>
              </a:p>
            </p:txBody>
          </p:sp>
          <p:sp>
            <p:nvSpPr>
              <p:cNvPr id="13" name="Freeform 13"/>
              <p:cNvSpPr/>
              <p:nvPr/>
            </p:nvSpPr>
            <p:spPr>
              <a:xfrm>
                <a:off x="756000" y="756000"/>
                <a:ext cx="427680" cy="427680"/>
              </a:xfrm>
              <a:custGeom>
                <a:avLst/>
                <a:gdLst/>
                <a:ahLst/>
                <a:cxnLst/>
                <a:rect l="l" t="t" r="r" b="b"/>
                <a:pathLst>
                  <a:path w="570240" h="570240">
                    <a:moveTo>
                      <a:pt x="0" y="0"/>
                    </a:moveTo>
                    <a:lnTo>
                      <a:pt x="570240" y="0"/>
                    </a:lnTo>
                    <a:lnTo>
                      <a:pt x="570240" y="570240"/>
                    </a:lnTo>
                    <a:lnTo>
                      <a:pt x="0" y="57024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dirty="0"/>
              </a:p>
            </p:txBody>
          </p:sp>
          <p:sp>
            <p:nvSpPr>
              <p:cNvPr id="14" name="TextBox 14"/>
              <p:cNvSpPr txBox="1"/>
              <p:nvPr/>
            </p:nvSpPr>
            <p:spPr>
              <a:xfrm>
                <a:off x="1346075" y="756000"/>
                <a:ext cx="1191707" cy="461665"/>
              </a:xfrm>
              <a:prstGeom prst="rect">
                <a:avLst/>
              </a:prstGeom>
            </p:spPr>
            <p:txBody>
              <a:bodyPr lIns="0" tIns="0" rIns="0" bIns="0" rtlCol="0" anchor="t">
                <a:spAutoFit/>
              </a:bodyPr>
              <a:lstStyle/>
              <a:p>
                <a:pPr>
                  <a:lnSpc>
                    <a:spcPts val="1817"/>
                  </a:lnSpc>
                </a:pPr>
                <a:r>
                  <a:rPr lang="en-US" sz="1502" b="1" dirty="0">
                    <a:solidFill>
                      <a:srgbClr val="FFFFFF"/>
                    </a:solidFill>
                    <a:latin typeface="Red Hat Display" panose="02010303040201060303" pitchFamily="2" charset="0"/>
                  </a:rPr>
                  <a:t>QUIRKIFY </a:t>
                </a:r>
              </a:p>
              <a:p>
                <a:pPr>
                  <a:lnSpc>
                    <a:spcPts val="1817"/>
                  </a:lnSpc>
                </a:pPr>
                <a:r>
                  <a:rPr lang="en-US" sz="1502" b="1" dirty="0">
                    <a:solidFill>
                      <a:srgbClr val="FFFFFF"/>
                    </a:solidFill>
                    <a:latin typeface="Red Hat Display" panose="02010303040201060303" pitchFamily="2" charset="0"/>
                  </a:rPr>
                  <a:t>STUDIO</a:t>
                </a:r>
              </a:p>
            </p:txBody>
          </p:sp>
        </p:grpSp>
        <p:sp>
          <p:nvSpPr>
            <p:cNvPr id="10" name="TemplateLAB"/>
            <p:cNvSpPr/>
            <p:nvPr/>
          </p:nvSpPr>
          <p:spPr>
            <a:xfrm>
              <a:off x="6071941" y="10042856"/>
              <a:ext cx="732059" cy="120790"/>
            </a:xfrm>
            <a:custGeom>
              <a:avLst/>
              <a:gdLst/>
              <a:ahLst/>
              <a:cxnLst/>
              <a:rect l="l" t="t" r="r" b="b"/>
              <a:pathLst>
                <a:path w="732059" h="120790">
                  <a:moveTo>
                    <a:pt x="0" y="0"/>
                  </a:moveTo>
                  <a:lnTo>
                    <a:pt x="732059" y="0"/>
                  </a:lnTo>
                  <a:lnTo>
                    <a:pt x="732059" y="120790"/>
                  </a:lnTo>
                  <a:lnTo>
                    <a:pt x="0" y="12079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dirty="0"/>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7 - Page 5">
            <a:extLst>
              <a:ext uri="{FF2B5EF4-FFF2-40B4-BE49-F238E27FC236}">
                <a16:creationId xmlns:a16="http://schemas.microsoft.com/office/drawing/2014/main" id="{F6557C56-61D8-3C37-63F6-DB150CC7C037}"/>
              </a:ext>
            </a:extLst>
          </p:cNvPr>
          <p:cNvGrpSpPr/>
          <p:nvPr/>
        </p:nvGrpSpPr>
        <p:grpSpPr>
          <a:xfrm>
            <a:off x="756000" y="756000"/>
            <a:ext cx="6048000" cy="9416022"/>
            <a:chOff x="756000" y="756000"/>
            <a:chExt cx="6048000" cy="9416022"/>
          </a:xfrm>
        </p:grpSpPr>
        <p:sp>
          <p:nvSpPr>
            <p:cNvPr id="3" name="TextBox 3"/>
            <p:cNvSpPr txBox="1"/>
            <p:nvPr/>
          </p:nvSpPr>
          <p:spPr>
            <a:xfrm>
              <a:off x="5817676" y="10015056"/>
              <a:ext cx="986324" cy="156966"/>
            </a:xfrm>
            <a:prstGeom prst="rect">
              <a:avLst/>
            </a:prstGeom>
          </p:spPr>
          <p:txBody>
            <a:bodyPr lIns="0" tIns="0" rIns="0" bIns="0" rtlCol="0" anchor="t">
              <a:spAutoFit/>
            </a:bodyPr>
            <a:lstStyle/>
            <a:p>
              <a:pPr marL="0" lvl="0" indent="0" algn="r">
                <a:lnSpc>
                  <a:spcPts val="1260"/>
                </a:lnSpc>
                <a:spcBef>
                  <a:spcPct val="0"/>
                </a:spcBef>
              </a:pPr>
              <a:r>
                <a:rPr lang="en-US" sz="900" b="1" dirty="0">
                  <a:solidFill>
                    <a:srgbClr val="121722"/>
                  </a:solidFill>
                  <a:latin typeface="Red Hat Display"/>
                </a:rPr>
                <a:t> I </a:t>
              </a:r>
              <a:r>
                <a:rPr lang="en-US" sz="900" b="1" dirty="0">
                  <a:solidFill>
                    <a:srgbClr val="121722"/>
                  </a:solidFill>
                  <a:latin typeface="Red Hat Display" panose="02010303040201060303" pitchFamily="2" charset="0"/>
                </a:rPr>
                <a:t>PAGE 5</a:t>
              </a:r>
            </a:p>
          </p:txBody>
        </p:sp>
        <p:grpSp>
          <p:nvGrpSpPr>
            <p:cNvPr id="18" name="Group 17">
              <a:extLst>
                <a:ext uri="{FF2B5EF4-FFF2-40B4-BE49-F238E27FC236}">
                  <a16:creationId xmlns:a16="http://schemas.microsoft.com/office/drawing/2014/main" id="{35444C7F-0B77-C3C8-B899-46959A378B93}"/>
                </a:ext>
              </a:extLst>
            </p:cNvPr>
            <p:cNvGrpSpPr/>
            <p:nvPr/>
          </p:nvGrpSpPr>
          <p:grpSpPr>
            <a:xfrm>
              <a:off x="756000" y="2623173"/>
              <a:ext cx="6048000" cy="7068963"/>
              <a:chOff x="756000" y="2623173"/>
              <a:chExt cx="6048000" cy="7068963"/>
            </a:xfrm>
          </p:grpSpPr>
          <p:pic>
            <p:nvPicPr>
              <p:cNvPr id="5" name="Picture 5"/>
              <p:cNvPicPr>
                <a:picLocks noChangeAspect="1"/>
              </p:cNvPicPr>
              <p:nvPr/>
            </p:nvPicPr>
            <p:blipFill>
              <a:blip r:embed="rId3"/>
              <a:srcRect t="3783" b="3783"/>
              <a:stretch>
                <a:fillRect/>
              </a:stretch>
            </p:blipFill>
            <p:spPr>
              <a:xfrm>
                <a:off x="756000" y="2623173"/>
                <a:ext cx="6048000" cy="3726919"/>
              </a:xfrm>
              <a:prstGeom prst="rect">
                <a:avLst/>
              </a:prstGeom>
            </p:spPr>
          </p:pic>
          <p:grpSp>
            <p:nvGrpSpPr>
              <p:cNvPr id="17" name="Group 16">
                <a:extLst>
                  <a:ext uri="{FF2B5EF4-FFF2-40B4-BE49-F238E27FC236}">
                    <a16:creationId xmlns:a16="http://schemas.microsoft.com/office/drawing/2014/main" id="{EA235034-0618-78BD-3BD3-404A671496EC}"/>
                  </a:ext>
                </a:extLst>
              </p:cNvPr>
              <p:cNvGrpSpPr/>
              <p:nvPr/>
            </p:nvGrpSpPr>
            <p:grpSpPr>
              <a:xfrm>
                <a:off x="756000" y="8536059"/>
                <a:ext cx="6022305" cy="1156077"/>
                <a:chOff x="756000" y="8536059"/>
                <a:chExt cx="6022305" cy="1156077"/>
              </a:xfrm>
            </p:grpSpPr>
            <p:sp>
              <p:nvSpPr>
                <p:cNvPr id="6" name="TextBox 6"/>
                <p:cNvSpPr txBox="1"/>
                <p:nvPr/>
              </p:nvSpPr>
              <p:spPr>
                <a:xfrm>
                  <a:off x="756000" y="8536059"/>
                  <a:ext cx="5242012" cy="202556"/>
                </a:xfrm>
                <a:prstGeom prst="rect">
                  <a:avLst/>
                </a:prstGeom>
              </p:spPr>
              <p:txBody>
                <a:bodyPr lIns="0" tIns="0" rIns="0" bIns="0" rtlCol="0" anchor="t">
                  <a:spAutoFit/>
                </a:bodyPr>
                <a:lstStyle/>
                <a:p>
                  <a:pPr>
                    <a:lnSpc>
                      <a:spcPts val="1650"/>
                    </a:lnSpc>
                  </a:pPr>
                  <a:r>
                    <a:rPr lang="en-US" sz="1100" b="1" dirty="0">
                      <a:solidFill>
                        <a:srgbClr val="121722"/>
                      </a:solidFill>
                      <a:latin typeface="Red Hat Display" panose="02010303040201060303" pitchFamily="2" charset="0"/>
                    </a:rPr>
                    <a:t>Synergistic Efforts for Effective Team Collaboration</a:t>
                  </a:r>
                </a:p>
              </p:txBody>
            </p:sp>
            <p:sp>
              <p:nvSpPr>
                <p:cNvPr id="7" name="TextBox 7"/>
                <p:cNvSpPr txBox="1"/>
                <p:nvPr/>
              </p:nvSpPr>
              <p:spPr>
                <a:xfrm>
                  <a:off x="756000" y="8840602"/>
                  <a:ext cx="6022305" cy="851534"/>
                </a:xfrm>
                <a:prstGeom prst="rect">
                  <a:avLst/>
                </a:prstGeom>
              </p:spPr>
              <p:txBody>
                <a:bodyPr lIns="0" tIns="0" rIns="0" bIns="0" rtlCol="0" anchor="t">
                  <a:spAutoFit/>
                </a:bodyPr>
                <a:lstStyle/>
                <a:p>
                  <a:pPr>
                    <a:lnSpc>
                      <a:spcPts val="1349"/>
                    </a:lnSpc>
                  </a:pPr>
                  <a:r>
                    <a:rPr lang="en-US" sz="899" dirty="0">
                      <a:solidFill>
                        <a:srgbClr val="2B2B2B"/>
                      </a:solidFill>
                      <a:latin typeface="DM Sans" pitchFamily="2" charset="0"/>
                    </a:rPr>
                    <a:t>Fostering a workplace that encourages collaborative efforts among team members toward shared goals </a:t>
                  </a:r>
                </a:p>
                <a:p>
                  <a:pPr marL="0" lvl="0" indent="0" algn="l">
                    <a:lnSpc>
                      <a:spcPts val="1349"/>
                    </a:lnSpc>
                    <a:spcBef>
                      <a:spcPct val="0"/>
                    </a:spcBef>
                  </a:pPr>
                  <a:r>
                    <a:rPr lang="en-US" sz="899" dirty="0">
                      <a:solidFill>
                        <a:srgbClr val="2B2B2B"/>
                      </a:solidFill>
                      <a:latin typeface="DM Sans" pitchFamily="2" charset="0"/>
                    </a:rPr>
                    <a:t>is crucial. The concept of "Synergistic Efforts for Effective Team Collaboration" embodies collective success through coordinated actions, seamless teamwork, and united dedication. This approach underscores the interconnected nature of tasks, emphasizing the importance of creating an environment that facilitates harmonious collaboration for optimal outcomes.</a:t>
                  </a:r>
                </a:p>
              </p:txBody>
            </p:sp>
          </p:grpSp>
          <p:grpSp>
            <p:nvGrpSpPr>
              <p:cNvPr id="16" name="Group 15">
                <a:extLst>
                  <a:ext uri="{FF2B5EF4-FFF2-40B4-BE49-F238E27FC236}">
                    <a16:creationId xmlns:a16="http://schemas.microsoft.com/office/drawing/2014/main" id="{7C944BBB-900C-1B6C-D4E8-3F3E692B0677}"/>
                  </a:ext>
                </a:extLst>
              </p:cNvPr>
              <p:cNvGrpSpPr/>
              <p:nvPr/>
            </p:nvGrpSpPr>
            <p:grpSpPr>
              <a:xfrm>
                <a:off x="756000" y="6693389"/>
                <a:ext cx="6048000" cy="1156076"/>
                <a:chOff x="756000" y="6698693"/>
                <a:chExt cx="6048000" cy="1156076"/>
              </a:xfrm>
            </p:grpSpPr>
            <p:sp>
              <p:nvSpPr>
                <p:cNvPr id="8" name="TextBox 8"/>
                <p:cNvSpPr txBox="1"/>
                <p:nvPr/>
              </p:nvSpPr>
              <p:spPr>
                <a:xfrm>
                  <a:off x="756000" y="6698693"/>
                  <a:ext cx="5242012" cy="202556"/>
                </a:xfrm>
                <a:prstGeom prst="rect">
                  <a:avLst/>
                </a:prstGeom>
              </p:spPr>
              <p:txBody>
                <a:bodyPr lIns="0" tIns="0" rIns="0" bIns="0" rtlCol="0" anchor="t">
                  <a:spAutoFit/>
                </a:bodyPr>
                <a:lstStyle/>
                <a:p>
                  <a:pPr>
                    <a:lnSpc>
                      <a:spcPts val="1650"/>
                    </a:lnSpc>
                  </a:pPr>
                  <a:r>
                    <a:rPr lang="en-US" sz="1100" b="1" dirty="0">
                      <a:solidFill>
                        <a:srgbClr val="121722"/>
                      </a:solidFill>
                      <a:latin typeface="Red Hat Display" panose="02010303040201060303" pitchFamily="2" charset="0"/>
                    </a:rPr>
                    <a:t>Transparent Dialogue Facilitation for Open Communication</a:t>
                  </a:r>
                </a:p>
              </p:txBody>
            </p:sp>
            <p:sp>
              <p:nvSpPr>
                <p:cNvPr id="9" name="TextBox 9"/>
                <p:cNvSpPr txBox="1"/>
                <p:nvPr/>
              </p:nvSpPr>
              <p:spPr>
                <a:xfrm>
                  <a:off x="756000" y="7003235"/>
                  <a:ext cx="6048000" cy="851534"/>
                </a:xfrm>
                <a:prstGeom prst="rect">
                  <a:avLst/>
                </a:prstGeom>
              </p:spPr>
              <p:txBody>
                <a:bodyPr lIns="0" tIns="0" rIns="0" bIns="0" rtlCol="0" anchor="t">
                  <a:spAutoFit/>
                </a:bodyPr>
                <a:lstStyle/>
                <a:p>
                  <a:pPr marL="0" lvl="0" indent="0" algn="l">
                    <a:lnSpc>
                      <a:spcPts val="1349"/>
                    </a:lnSpc>
                    <a:spcBef>
                      <a:spcPct val="0"/>
                    </a:spcBef>
                  </a:pPr>
                  <a:r>
                    <a:rPr lang="en-US" sz="899" dirty="0">
                      <a:solidFill>
                        <a:srgbClr val="2B2B2B"/>
                      </a:solidFill>
                      <a:latin typeface="DM Sans" pitchFamily="2" charset="0"/>
                    </a:rPr>
                    <a:t>Emphasizing open communication, 'Transparent Dialogue Facilitation for Open Communication' focuses on cultivating transparency and active information exchange within teams. It strongly encourages team members </a:t>
                  </a:r>
                </a:p>
                <a:p>
                  <a:pPr marL="0" lvl="0" indent="0" algn="l">
                    <a:lnSpc>
                      <a:spcPts val="1349"/>
                    </a:lnSpc>
                    <a:spcBef>
                      <a:spcPct val="0"/>
                    </a:spcBef>
                  </a:pPr>
                  <a:r>
                    <a:rPr lang="en-US" sz="899" dirty="0">
                      <a:solidFill>
                        <a:srgbClr val="2B2B2B"/>
                      </a:solidFill>
                      <a:latin typeface="DM Sans" pitchFamily="2" charset="0"/>
                    </a:rPr>
                    <a:t>to freely express ideas, concerns, and feedback, fostering an environment that embraces open dialogue. This approach builds trust, contributing to the development of a cohesive and innovative team dynamic, ultimately enhancing overall team effectiveness and collaboration.</a:t>
                  </a:r>
                </a:p>
              </p:txBody>
            </p:sp>
          </p:grpSp>
          <p:sp>
            <p:nvSpPr>
              <p:cNvPr id="10" name="AutoShape 10"/>
              <p:cNvSpPr/>
              <p:nvPr/>
            </p:nvSpPr>
            <p:spPr>
              <a:xfrm>
                <a:off x="756000" y="8192762"/>
                <a:ext cx="6022305" cy="0"/>
              </a:xfrm>
              <a:prstGeom prst="line">
                <a:avLst/>
              </a:prstGeom>
              <a:ln w="9525" cap="flat">
                <a:solidFill>
                  <a:srgbClr val="121722">
                    <a:alpha val="24706"/>
                  </a:srgbClr>
                </a:solidFill>
                <a:prstDash val="solid"/>
                <a:headEnd type="none" w="med" len="med"/>
                <a:tailEnd type="none" w="med" len="med"/>
              </a:ln>
            </p:spPr>
            <p:txBody>
              <a:bodyPr/>
              <a:lstStyle/>
              <a:p>
                <a:endParaRPr lang="en-US" dirty="0"/>
              </a:p>
            </p:txBody>
          </p:sp>
        </p:grpSp>
        <p:sp>
          <p:nvSpPr>
            <p:cNvPr id="2" name="TextBox 2"/>
            <p:cNvSpPr txBox="1"/>
            <p:nvPr/>
          </p:nvSpPr>
          <p:spPr>
            <a:xfrm>
              <a:off x="756000" y="1658751"/>
              <a:ext cx="4710266" cy="544112"/>
            </a:xfrm>
            <a:prstGeom prst="rect">
              <a:avLst/>
            </a:prstGeom>
          </p:spPr>
          <p:txBody>
            <a:bodyPr lIns="0" tIns="0" rIns="0" bIns="0" rtlCol="0" anchor="t">
              <a:spAutoFit/>
            </a:bodyPr>
            <a:lstStyle/>
            <a:p>
              <a:pPr marL="0" lvl="0" indent="0" algn="l">
                <a:lnSpc>
                  <a:spcPts val="4227"/>
                </a:lnSpc>
                <a:spcBef>
                  <a:spcPct val="0"/>
                </a:spcBef>
              </a:pPr>
              <a:r>
                <a:rPr lang="en-US" sz="3850" b="1" dirty="0">
                  <a:solidFill>
                    <a:srgbClr val="121722"/>
                  </a:solidFill>
                  <a:latin typeface="Red Hat Display" panose="02010303040201060303" pitchFamily="2" charset="0"/>
                </a:rPr>
                <a:t>Team Dynamics</a:t>
              </a:r>
            </a:p>
          </p:txBody>
        </p:sp>
        <p:grpSp>
          <p:nvGrpSpPr>
            <p:cNvPr id="12" name="Group 11">
              <a:extLst>
                <a:ext uri="{FF2B5EF4-FFF2-40B4-BE49-F238E27FC236}">
                  <a16:creationId xmlns:a16="http://schemas.microsoft.com/office/drawing/2014/main" id="{B87603CF-A472-48CF-341B-8674145C121E}"/>
                </a:ext>
              </a:extLst>
            </p:cNvPr>
            <p:cNvGrpSpPr/>
            <p:nvPr/>
          </p:nvGrpSpPr>
          <p:grpSpPr>
            <a:xfrm>
              <a:off x="756000" y="756000"/>
              <a:ext cx="6048000" cy="461665"/>
              <a:chOff x="756000" y="756000"/>
              <a:chExt cx="6048000" cy="461665"/>
            </a:xfrm>
          </p:grpSpPr>
          <p:sp>
            <p:nvSpPr>
              <p:cNvPr id="13" name="TextBox 13"/>
              <p:cNvSpPr txBox="1"/>
              <p:nvPr/>
            </p:nvSpPr>
            <p:spPr>
              <a:xfrm>
                <a:off x="4420388" y="797619"/>
                <a:ext cx="2383612" cy="399827"/>
              </a:xfrm>
              <a:prstGeom prst="rect">
                <a:avLst/>
              </a:prstGeom>
            </p:spPr>
            <p:txBody>
              <a:bodyPr lIns="0" tIns="0" rIns="0" bIns="0" rtlCol="0" anchor="t">
                <a:spAutoFit/>
              </a:bodyPr>
              <a:lstStyle/>
              <a:p>
                <a:pPr algn="r">
                  <a:lnSpc>
                    <a:spcPts val="1079"/>
                  </a:lnSpc>
                </a:pPr>
                <a:r>
                  <a:rPr lang="en-US" sz="899" dirty="0">
                    <a:solidFill>
                      <a:srgbClr val="121722"/>
                    </a:solidFill>
                    <a:latin typeface="Poppins"/>
                  </a:rPr>
                  <a:t>123 Anywhere St., Any City</a:t>
                </a:r>
              </a:p>
              <a:p>
                <a:pPr algn="r">
                  <a:lnSpc>
                    <a:spcPts val="1079"/>
                  </a:lnSpc>
                </a:pPr>
                <a:r>
                  <a:rPr lang="en-US" sz="899" dirty="0">
                    <a:solidFill>
                      <a:srgbClr val="121722"/>
                    </a:solidFill>
                    <a:latin typeface="Poppins"/>
                  </a:rPr>
                  <a:t>+123-456-7890</a:t>
                </a:r>
              </a:p>
              <a:p>
                <a:pPr algn="r">
                  <a:lnSpc>
                    <a:spcPts val="1079"/>
                  </a:lnSpc>
                </a:pPr>
                <a:r>
                  <a:rPr lang="en-US" sz="899" dirty="0">
                    <a:solidFill>
                      <a:srgbClr val="121722"/>
                    </a:solidFill>
                    <a:latin typeface="Poppins"/>
                  </a:rPr>
                  <a:t>www.Quirkifystudio.com</a:t>
                </a:r>
              </a:p>
            </p:txBody>
          </p:sp>
          <p:sp>
            <p:nvSpPr>
              <p:cNvPr id="14" name="Freeform 14"/>
              <p:cNvSpPr/>
              <p:nvPr/>
            </p:nvSpPr>
            <p:spPr>
              <a:xfrm>
                <a:off x="756000" y="756000"/>
                <a:ext cx="427680" cy="427680"/>
              </a:xfrm>
              <a:custGeom>
                <a:avLst/>
                <a:gdLst/>
                <a:ahLst/>
                <a:cxnLst/>
                <a:rect l="l" t="t" r="r" b="b"/>
                <a:pathLst>
                  <a:path w="570240" h="570240">
                    <a:moveTo>
                      <a:pt x="0" y="0"/>
                    </a:moveTo>
                    <a:lnTo>
                      <a:pt x="570240" y="0"/>
                    </a:lnTo>
                    <a:lnTo>
                      <a:pt x="570240" y="570240"/>
                    </a:lnTo>
                    <a:lnTo>
                      <a:pt x="0" y="57024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dirty="0"/>
              </a:p>
            </p:txBody>
          </p:sp>
          <p:sp>
            <p:nvSpPr>
              <p:cNvPr id="15" name="TextBox 15"/>
              <p:cNvSpPr txBox="1"/>
              <p:nvPr/>
            </p:nvSpPr>
            <p:spPr>
              <a:xfrm>
                <a:off x="1346075" y="756000"/>
                <a:ext cx="1191707" cy="461665"/>
              </a:xfrm>
              <a:prstGeom prst="rect">
                <a:avLst/>
              </a:prstGeom>
            </p:spPr>
            <p:txBody>
              <a:bodyPr lIns="0" tIns="0" rIns="0" bIns="0" rtlCol="0" anchor="t">
                <a:spAutoFit/>
              </a:bodyPr>
              <a:lstStyle/>
              <a:p>
                <a:pPr>
                  <a:lnSpc>
                    <a:spcPts val="1817"/>
                  </a:lnSpc>
                </a:pPr>
                <a:r>
                  <a:rPr lang="en-US" sz="1502" b="1" dirty="0">
                    <a:solidFill>
                      <a:srgbClr val="121722"/>
                    </a:solidFill>
                    <a:latin typeface="Red Hat Display" panose="02010303040201060303" pitchFamily="2" charset="0"/>
                  </a:rPr>
                  <a:t>QUIRKIFY </a:t>
                </a:r>
              </a:p>
              <a:p>
                <a:pPr>
                  <a:lnSpc>
                    <a:spcPts val="1817"/>
                  </a:lnSpc>
                </a:pPr>
                <a:r>
                  <a:rPr lang="en-US" sz="1502" b="1" dirty="0">
                    <a:solidFill>
                      <a:srgbClr val="121722"/>
                    </a:solidFill>
                    <a:latin typeface="Red Hat Display" panose="02010303040201060303" pitchFamily="2" charset="0"/>
                  </a:rPr>
                  <a:t>STUDIO</a:t>
                </a:r>
              </a:p>
            </p:txBody>
          </p:sp>
        </p:grpSp>
        <p:sp>
          <p:nvSpPr>
            <p:cNvPr id="11" name="TemplateLAB"/>
            <p:cNvSpPr/>
            <p:nvPr/>
          </p:nvSpPr>
          <p:spPr>
            <a:xfrm>
              <a:off x="756000" y="10042856"/>
              <a:ext cx="732059" cy="120790"/>
            </a:xfrm>
            <a:custGeom>
              <a:avLst/>
              <a:gdLst/>
              <a:ahLst/>
              <a:cxnLst/>
              <a:rect l="l" t="t" r="r" b="b"/>
              <a:pathLst>
                <a:path w="732059" h="120790">
                  <a:moveTo>
                    <a:pt x="0" y="0"/>
                  </a:moveTo>
                  <a:lnTo>
                    <a:pt x="732059" y="0"/>
                  </a:lnTo>
                  <a:lnTo>
                    <a:pt x="732059" y="120790"/>
                  </a:lnTo>
                  <a:lnTo>
                    <a:pt x="0" y="12079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dirty="0"/>
            </a:p>
          </p:txBody>
        </p:sp>
      </p:grpSp>
    </p:spTree>
    <p:custDataLst>
      <p:tags r:id="rId1"/>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21722"/>
        </a:solidFill>
        <a:effectLst/>
      </p:bgPr>
    </p:bg>
    <p:spTree>
      <p:nvGrpSpPr>
        <p:cNvPr id="1" name=""/>
        <p:cNvGrpSpPr/>
        <p:nvPr/>
      </p:nvGrpSpPr>
      <p:grpSpPr>
        <a:xfrm>
          <a:off x="0" y="0"/>
          <a:ext cx="0" cy="0"/>
          <a:chOff x="0" y="0"/>
          <a:chExt cx="0" cy="0"/>
        </a:xfrm>
      </p:grpSpPr>
      <p:grpSp>
        <p:nvGrpSpPr>
          <p:cNvPr id="41" name="Group 7 - Page 6">
            <a:extLst>
              <a:ext uri="{FF2B5EF4-FFF2-40B4-BE49-F238E27FC236}">
                <a16:creationId xmlns:a16="http://schemas.microsoft.com/office/drawing/2014/main" id="{4AB2439D-AE74-04BF-35B9-600C59806D72}"/>
              </a:ext>
            </a:extLst>
          </p:cNvPr>
          <p:cNvGrpSpPr/>
          <p:nvPr/>
        </p:nvGrpSpPr>
        <p:grpSpPr>
          <a:xfrm>
            <a:off x="756000" y="756000"/>
            <a:ext cx="6048000" cy="9416022"/>
            <a:chOff x="756000" y="756000"/>
            <a:chExt cx="6048000" cy="9416022"/>
          </a:xfrm>
        </p:grpSpPr>
        <p:sp>
          <p:nvSpPr>
            <p:cNvPr id="82" name="TextBox 82"/>
            <p:cNvSpPr txBox="1"/>
            <p:nvPr/>
          </p:nvSpPr>
          <p:spPr>
            <a:xfrm>
              <a:off x="756000" y="10015056"/>
              <a:ext cx="986324" cy="156966"/>
            </a:xfrm>
            <a:prstGeom prst="rect">
              <a:avLst/>
            </a:prstGeom>
          </p:spPr>
          <p:txBody>
            <a:bodyPr lIns="0" tIns="0" rIns="0" bIns="0" rtlCol="0" anchor="t">
              <a:spAutoFit/>
            </a:bodyPr>
            <a:lstStyle/>
            <a:p>
              <a:pPr marL="0" lvl="0" indent="0">
                <a:lnSpc>
                  <a:spcPts val="1260"/>
                </a:lnSpc>
                <a:spcBef>
                  <a:spcPct val="0"/>
                </a:spcBef>
              </a:pPr>
              <a:r>
                <a:rPr lang="en-US" sz="900" b="1" u="none" strike="noStrike" dirty="0">
                  <a:solidFill>
                    <a:srgbClr val="FFFFFF"/>
                  </a:solidFill>
                  <a:latin typeface="Red Hat Display" panose="02010303040201060303" pitchFamily="2" charset="0"/>
                </a:rPr>
                <a:t>PAGE  6 I</a:t>
              </a:r>
            </a:p>
          </p:txBody>
        </p:sp>
        <p:grpSp>
          <p:nvGrpSpPr>
            <p:cNvPr id="38" name="Group 37">
              <a:extLst>
                <a:ext uri="{FF2B5EF4-FFF2-40B4-BE49-F238E27FC236}">
                  <a16:creationId xmlns:a16="http://schemas.microsoft.com/office/drawing/2014/main" id="{5F1DB635-B671-9205-3526-E8348480149C}"/>
                </a:ext>
              </a:extLst>
            </p:cNvPr>
            <p:cNvGrpSpPr/>
            <p:nvPr/>
          </p:nvGrpSpPr>
          <p:grpSpPr>
            <a:xfrm>
              <a:off x="756000" y="7277721"/>
              <a:ext cx="6048000" cy="2303628"/>
              <a:chOff x="756000" y="7277721"/>
              <a:chExt cx="6048000" cy="2303628"/>
            </a:xfrm>
          </p:grpSpPr>
          <p:sp>
            <p:nvSpPr>
              <p:cNvPr id="56" name="TextBox 56"/>
              <p:cNvSpPr txBox="1"/>
              <p:nvPr/>
            </p:nvSpPr>
            <p:spPr>
              <a:xfrm>
                <a:off x="756000" y="8455207"/>
                <a:ext cx="1694593" cy="1126142"/>
              </a:xfrm>
              <a:prstGeom prst="rect">
                <a:avLst/>
              </a:prstGeom>
            </p:spPr>
            <p:txBody>
              <a:bodyPr lIns="0" tIns="0" rIns="0" bIns="0" rtlCol="0" anchor="t">
                <a:spAutoFit/>
              </a:bodyPr>
              <a:lstStyle/>
              <a:p>
                <a:pPr>
                  <a:lnSpc>
                    <a:spcPts val="1079"/>
                  </a:lnSpc>
                </a:pPr>
                <a:r>
                  <a:rPr lang="en-US" sz="899" dirty="0">
                    <a:solidFill>
                      <a:srgbClr val="FFFFFF">
                        <a:alpha val="94902"/>
                      </a:srgbClr>
                    </a:solidFill>
                    <a:latin typeface="DM Sans" pitchFamily="2" charset="0"/>
                  </a:rPr>
                  <a:t>Develop essential data analytics skills for interpreting insights from datasets. Grasp core concepts, utilize tools such as Microsoft Excel or Google Sheets for analysis, </a:t>
                </a:r>
              </a:p>
              <a:p>
                <a:pPr marL="0" lvl="0" indent="0" algn="l">
                  <a:lnSpc>
                    <a:spcPts val="1079"/>
                  </a:lnSpc>
                  <a:spcBef>
                    <a:spcPct val="0"/>
                  </a:spcBef>
                </a:pPr>
                <a:r>
                  <a:rPr lang="en-US" sz="899" dirty="0">
                    <a:solidFill>
                      <a:srgbClr val="FFFFFF">
                        <a:alpha val="94902"/>
                      </a:srgbClr>
                    </a:solidFill>
                    <a:latin typeface="DM Sans" pitchFamily="2" charset="0"/>
                  </a:rPr>
                  <a:t>and make informed decisions based on data-driven insights</a:t>
                </a:r>
              </a:p>
            </p:txBody>
          </p:sp>
          <p:sp>
            <p:nvSpPr>
              <p:cNvPr id="57" name="TextBox 57"/>
              <p:cNvSpPr txBox="1"/>
              <p:nvPr/>
            </p:nvSpPr>
            <p:spPr>
              <a:xfrm>
                <a:off x="2932704" y="8455207"/>
                <a:ext cx="1694593" cy="1126142"/>
              </a:xfrm>
              <a:prstGeom prst="rect">
                <a:avLst/>
              </a:prstGeom>
            </p:spPr>
            <p:txBody>
              <a:bodyPr lIns="0" tIns="0" rIns="0" bIns="0" rtlCol="0" anchor="t">
                <a:spAutoFit/>
              </a:bodyPr>
              <a:lstStyle/>
              <a:p>
                <a:pPr>
                  <a:lnSpc>
                    <a:spcPts val="1079"/>
                  </a:lnSpc>
                </a:pPr>
                <a:r>
                  <a:rPr lang="en-US" sz="899" dirty="0">
                    <a:solidFill>
                      <a:srgbClr val="FFFFFF">
                        <a:alpha val="94902"/>
                      </a:srgbClr>
                    </a:solidFill>
                    <a:latin typeface="DM Sans" pitchFamily="2" charset="0"/>
                  </a:rPr>
                  <a:t>Master project management tools such as Asana, Trello, or Microsoft Project. Hone skills </a:t>
                </a:r>
              </a:p>
              <a:p>
                <a:pPr marL="0" lvl="0" indent="0" algn="l">
                  <a:lnSpc>
                    <a:spcPts val="1079"/>
                  </a:lnSpc>
                  <a:spcBef>
                    <a:spcPct val="0"/>
                  </a:spcBef>
                </a:pPr>
                <a:r>
                  <a:rPr lang="en-US" sz="899" dirty="0">
                    <a:solidFill>
                      <a:srgbClr val="FFFFFF">
                        <a:alpha val="94902"/>
                      </a:srgbClr>
                    </a:solidFill>
                    <a:latin typeface="DM Sans" pitchFamily="2" charset="0"/>
                  </a:rPr>
                  <a:t>in task organization, team collaboration, and project deadline management for successful assignment completion proficiency</a:t>
                </a:r>
              </a:p>
            </p:txBody>
          </p:sp>
          <p:sp>
            <p:nvSpPr>
              <p:cNvPr id="58" name="TextBox 58"/>
              <p:cNvSpPr txBox="1"/>
              <p:nvPr/>
            </p:nvSpPr>
            <p:spPr>
              <a:xfrm>
                <a:off x="5109407" y="8455207"/>
                <a:ext cx="1694593" cy="1126142"/>
              </a:xfrm>
              <a:prstGeom prst="rect">
                <a:avLst/>
              </a:prstGeom>
            </p:spPr>
            <p:txBody>
              <a:bodyPr lIns="0" tIns="0" rIns="0" bIns="0" rtlCol="0" anchor="t">
                <a:spAutoFit/>
              </a:bodyPr>
              <a:lstStyle/>
              <a:p>
                <a:pPr marL="0" lvl="0" indent="0" algn="l">
                  <a:lnSpc>
                    <a:spcPts val="1079"/>
                  </a:lnSpc>
                  <a:spcBef>
                    <a:spcPct val="0"/>
                  </a:spcBef>
                </a:pPr>
                <a:r>
                  <a:rPr lang="en-US" sz="899" u="none" strike="noStrike" dirty="0">
                    <a:solidFill>
                      <a:srgbClr val="FFFFFF">
                        <a:alpha val="94902"/>
                      </a:srgbClr>
                    </a:solidFill>
                    <a:latin typeface="DM Sans" pitchFamily="2" charset="0"/>
                  </a:rPr>
                  <a:t>Acquire virtual meeting proficiency on platforms </a:t>
                </a:r>
              </a:p>
              <a:p>
                <a:pPr marL="0" lvl="0" indent="0" algn="l">
                  <a:lnSpc>
                    <a:spcPts val="1079"/>
                  </a:lnSpc>
                  <a:spcBef>
                    <a:spcPct val="0"/>
                  </a:spcBef>
                </a:pPr>
                <a:r>
                  <a:rPr lang="en-US" sz="899" u="none" strike="noStrike" dirty="0">
                    <a:solidFill>
                      <a:srgbClr val="FFFFFF">
                        <a:alpha val="94902"/>
                      </a:srgbClr>
                    </a:solidFill>
                    <a:latin typeface="DM Sans" pitchFamily="2" charset="0"/>
                  </a:rPr>
                  <a:t>like Zoom, Microsoft Teams, </a:t>
                </a:r>
              </a:p>
              <a:p>
                <a:pPr marL="0" lvl="0" indent="0" algn="l">
                  <a:lnSpc>
                    <a:spcPts val="1079"/>
                  </a:lnSpc>
                  <a:spcBef>
                    <a:spcPct val="0"/>
                  </a:spcBef>
                </a:pPr>
                <a:r>
                  <a:rPr lang="en-US" sz="899" u="none" strike="noStrike" dirty="0">
                    <a:solidFill>
                      <a:srgbClr val="FFFFFF">
                        <a:alpha val="94902"/>
                      </a:srgbClr>
                    </a:solidFill>
                    <a:latin typeface="DM Sans" pitchFamily="2" charset="0"/>
                  </a:rPr>
                  <a:t>or Google Meet. Hone skills </a:t>
                </a:r>
              </a:p>
              <a:p>
                <a:pPr marL="0" lvl="0" indent="0" algn="l">
                  <a:lnSpc>
                    <a:spcPts val="1079"/>
                  </a:lnSpc>
                  <a:spcBef>
                    <a:spcPct val="0"/>
                  </a:spcBef>
                </a:pPr>
                <a:r>
                  <a:rPr lang="en-US" sz="899" u="none" strike="noStrike" dirty="0">
                    <a:solidFill>
                      <a:srgbClr val="FFFFFF">
                        <a:alpha val="94902"/>
                      </a:srgbClr>
                    </a:solidFill>
                    <a:latin typeface="DM Sans" pitchFamily="2" charset="0"/>
                  </a:rPr>
                  <a:t>in effective communication, screen sharing, and virtual collaboration, optimizing capabilities for remote work </a:t>
                </a:r>
              </a:p>
            </p:txBody>
          </p:sp>
          <p:sp>
            <p:nvSpPr>
              <p:cNvPr id="59" name="TextBox 59"/>
              <p:cNvSpPr txBox="1"/>
              <p:nvPr/>
            </p:nvSpPr>
            <p:spPr>
              <a:xfrm>
                <a:off x="756000" y="8014067"/>
                <a:ext cx="1694593" cy="353238"/>
              </a:xfrm>
              <a:prstGeom prst="rect">
                <a:avLst/>
              </a:prstGeom>
            </p:spPr>
            <p:txBody>
              <a:bodyPr lIns="0" tIns="0" rIns="0" bIns="0" rtlCol="0" anchor="t">
                <a:spAutoFit/>
              </a:bodyPr>
              <a:lstStyle/>
              <a:p>
                <a:pPr>
                  <a:lnSpc>
                    <a:spcPts val="1375"/>
                  </a:lnSpc>
                </a:pPr>
                <a:r>
                  <a:rPr lang="en-US" sz="1100" b="1" dirty="0">
                    <a:solidFill>
                      <a:srgbClr val="FFFFFF"/>
                    </a:solidFill>
                    <a:latin typeface="Red Hat Display" panose="02010303040201060303" pitchFamily="2" charset="0"/>
                  </a:rPr>
                  <a:t>Data Analytics </a:t>
                </a:r>
                <a:br>
                  <a:rPr lang="en-US" sz="1100" b="1" dirty="0">
                    <a:solidFill>
                      <a:srgbClr val="FFFFFF"/>
                    </a:solidFill>
                    <a:latin typeface="Red Hat Display" panose="02010303040201060303" pitchFamily="2" charset="0"/>
                  </a:rPr>
                </a:br>
                <a:r>
                  <a:rPr lang="en-US" sz="1100" b="1" dirty="0">
                    <a:solidFill>
                      <a:srgbClr val="FFFFFF"/>
                    </a:solidFill>
                    <a:latin typeface="Red Hat Display" panose="02010303040201060303" pitchFamily="2" charset="0"/>
                  </a:rPr>
                  <a:t>Mastery</a:t>
                </a:r>
              </a:p>
            </p:txBody>
          </p:sp>
          <p:sp>
            <p:nvSpPr>
              <p:cNvPr id="64" name="Freeform 64"/>
              <p:cNvSpPr/>
              <p:nvPr/>
            </p:nvSpPr>
            <p:spPr>
              <a:xfrm>
                <a:off x="2932704" y="7287520"/>
                <a:ext cx="556920" cy="556920"/>
              </a:xfrm>
              <a:custGeom>
                <a:avLst/>
                <a:gdLst/>
                <a:ahLst/>
                <a:cxnLst/>
                <a:rect l="l" t="t" r="r" b="b"/>
                <a:pathLst>
                  <a:path w="556920" h="556920">
                    <a:moveTo>
                      <a:pt x="0" y="0"/>
                    </a:moveTo>
                    <a:lnTo>
                      <a:pt x="556920" y="0"/>
                    </a:lnTo>
                    <a:lnTo>
                      <a:pt x="556920" y="556920"/>
                    </a:lnTo>
                    <a:lnTo>
                      <a:pt x="0" y="556920"/>
                    </a:lnTo>
                    <a:lnTo>
                      <a:pt x="0" y="0"/>
                    </a:lnTo>
                    <a:close/>
                  </a:path>
                </a:pathLst>
              </a:custGeom>
              <a:blipFill>
                <a:blip r:embed="rId3">
                  <a:extLst>
                    <a:ext uri="{96DAC541-7B7A-43D3-8B79-37D633B846F1}">
                      <asvg:svgBlip xmlns:asvg="http://schemas.microsoft.com/office/drawing/2016/SVG/main" r:embed="rId4"/>
                    </a:ext>
                  </a:extLst>
                </a:blip>
                <a:stretch>
                  <a:fillRect/>
                </a:stretch>
              </a:blipFill>
              <a:ln cap="sq">
                <a:noFill/>
                <a:prstDash val="solid"/>
                <a:miter/>
              </a:ln>
            </p:spPr>
            <p:txBody>
              <a:bodyPr/>
              <a:lstStyle/>
              <a:p>
                <a:endParaRPr lang="en-US" dirty="0"/>
              </a:p>
            </p:txBody>
          </p:sp>
          <p:sp>
            <p:nvSpPr>
              <p:cNvPr id="65" name="Freeform 65"/>
              <p:cNvSpPr/>
              <p:nvPr/>
            </p:nvSpPr>
            <p:spPr>
              <a:xfrm>
                <a:off x="756000" y="7277721"/>
                <a:ext cx="557454" cy="557454"/>
              </a:xfrm>
              <a:custGeom>
                <a:avLst/>
                <a:gdLst/>
                <a:ahLst/>
                <a:cxnLst/>
                <a:rect l="l" t="t" r="r" b="b"/>
                <a:pathLst>
                  <a:path w="557454" h="557454">
                    <a:moveTo>
                      <a:pt x="0" y="0"/>
                    </a:moveTo>
                    <a:lnTo>
                      <a:pt x="557454" y="0"/>
                    </a:lnTo>
                    <a:lnTo>
                      <a:pt x="557454" y="557454"/>
                    </a:lnTo>
                    <a:lnTo>
                      <a:pt x="0" y="557454"/>
                    </a:lnTo>
                    <a:lnTo>
                      <a:pt x="0" y="0"/>
                    </a:lnTo>
                    <a:close/>
                  </a:path>
                </a:pathLst>
              </a:custGeom>
              <a:blipFill>
                <a:blip r:embed="rId5">
                  <a:extLst>
                    <a:ext uri="{96DAC541-7B7A-43D3-8B79-37D633B846F1}">
                      <asvg:svgBlip xmlns:asvg="http://schemas.microsoft.com/office/drawing/2016/SVG/main" r:embed="rId6"/>
                    </a:ext>
                  </a:extLst>
                </a:blip>
                <a:stretch>
                  <a:fillRect/>
                </a:stretch>
              </a:blipFill>
              <a:ln cap="sq">
                <a:noFill/>
                <a:prstDash val="solid"/>
                <a:miter/>
              </a:ln>
            </p:spPr>
            <p:txBody>
              <a:bodyPr/>
              <a:lstStyle/>
              <a:p>
                <a:endParaRPr lang="en-US" dirty="0"/>
              </a:p>
            </p:txBody>
          </p:sp>
          <p:sp>
            <p:nvSpPr>
              <p:cNvPr id="79" name="TextBox 79"/>
              <p:cNvSpPr txBox="1"/>
              <p:nvPr/>
            </p:nvSpPr>
            <p:spPr>
              <a:xfrm>
                <a:off x="2932704" y="8014067"/>
                <a:ext cx="1694593" cy="353238"/>
              </a:xfrm>
              <a:prstGeom prst="rect">
                <a:avLst/>
              </a:prstGeom>
            </p:spPr>
            <p:txBody>
              <a:bodyPr lIns="0" tIns="0" rIns="0" bIns="0" rtlCol="0" anchor="t">
                <a:spAutoFit/>
              </a:bodyPr>
              <a:lstStyle/>
              <a:p>
                <a:pPr>
                  <a:lnSpc>
                    <a:spcPts val="1375"/>
                  </a:lnSpc>
                </a:pPr>
                <a:r>
                  <a:rPr lang="en-US" sz="1100" b="1" dirty="0">
                    <a:solidFill>
                      <a:srgbClr val="FFFFFF"/>
                    </a:solidFill>
                    <a:latin typeface="Red Hat Display" panose="02010303040201060303" pitchFamily="2" charset="0"/>
                  </a:rPr>
                  <a:t>Efficient Project Management</a:t>
                </a:r>
              </a:p>
            </p:txBody>
          </p:sp>
          <p:sp>
            <p:nvSpPr>
              <p:cNvPr id="80" name="TextBox 80"/>
              <p:cNvSpPr txBox="1"/>
              <p:nvPr/>
            </p:nvSpPr>
            <p:spPr>
              <a:xfrm>
                <a:off x="5109407" y="8014067"/>
                <a:ext cx="1694593" cy="353238"/>
              </a:xfrm>
              <a:prstGeom prst="rect">
                <a:avLst/>
              </a:prstGeom>
            </p:spPr>
            <p:txBody>
              <a:bodyPr lIns="0" tIns="0" rIns="0" bIns="0" rtlCol="0" anchor="t">
                <a:spAutoFit/>
              </a:bodyPr>
              <a:lstStyle/>
              <a:p>
                <a:pPr>
                  <a:lnSpc>
                    <a:spcPts val="1375"/>
                  </a:lnSpc>
                </a:pPr>
                <a:r>
                  <a:rPr lang="en-US" sz="1100" b="1" dirty="0">
                    <a:solidFill>
                      <a:srgbClr val="FFFFFF"/>
                    </a:solidFill>
                    <a:latin typeface="Red Hat Display" panose="02010303040201060303" pitchFamily="2" charset="0"/>
                  </a:rPr>
                  <a:t>Video Conferencing Mastery</a:t>
                </a:r>
              </a:p>
            </p:txBody>
          </p:sp>
          <p:grpSp>
            <p:nvGrpSpPr>
              <p:cNvPr id="26" name="Group 25">
                <a:extLst>
                  <a:ext uri="{FF2B5EF4-FFF2-40B4-BE49-F238E27FC236}">
                    <a16:creationId xmlns:a16="http://schemas.microsoft.com/office/drawing/2014/main" id="{C696D652-D647-6F3D-E207-20E1DA011EE1}"/>
                  </a:ext>
                </a:extLst>
              </p:cNvPr>
              <p:cNvGrpSpPr/>
              <p:nvPr/>
            </p:nvGrpSpPr>
            <p:grpSpPr>
              <a:xfrm>
                <a:off x="5109407" y="7283920"/>
                <a:ext cx="560520" cy="560520"/>
                <a:chOff x="5109407" y="7283920"/>
                <a:chExt cx="560520" cy="560520"/>
              </a:xfrm>
            </p:grpSpPr>
            <p:sp>
              <p:nvSpPr>
                <p:cNvPr id="29" name="Freeform 66">
                  <a:extLst>
                    <a:ext uri="{FF2B5EF4-FFF2-40B4-BE49-F238E27FC236}">
                      <a16:creationId xmlns:a16="http://schemas.microsoft.com/office/drawing/2014/main" id="{835B7703-107B-693D-FBDC-712ECDA7FCE7}"/>
                    </a:ext>
                  </a:extLst>
                </p:cNvPr>
                <p:cNvSpPr/>
                <p:nvPr/>
              </p:nvSpPr>
              <p:spPr>
                <a:xfrm>
                  <a:off x="5109407" y="7283920"/>
                  <a:ext cx="560520" cy="560520"/>
                </a:xfrm>
                <a:custGeom>
                  <a:avLst/>
                  <a:gdLst/>
                  <a:ahLst/>
                  <a:cxnLst/>
                  <a:rect l="l" t="t" r="r" b="b"/>
                  <a:pathLst>
                    <a:path w="560520" h="560520">
                      <a:moveTo>
                        <a:pt x="0" y="0"/>
                      </a:moveTo>
                      <a:lnTo>
                        <a:pt x="560520" y="0"/>
                      </a:lnTo>
                      <a:lnTo>
                        <a:pt x="560520" y="560520"/>
                      </a:lnTo>
                      <a:lnTo>
                        <a:pt x="0" y="560520"/>
                      </a:lnTo>
                      <a:lnTo>
                        <a:pt x="0" y="0"/>
                      </a:lnTo>
                      <a:close/>
                    </a:path>
                  </a:pathLst>
                </a:custGeom>
                <a:blipFill>
                  <a:blip r:embed="rId7">
                    <a:extLst>
                      <a:ext uri="{96DAC541-7B7A-43D3-8B79-37D633B846F1}">
                        <asvg:svgBlip xmlns:asvg="http://schemas.microsoft.com/office/drawing/2016/SVG/main" r:embed="rId8"/>
                      </a:ext>
                    </a:extLst>
                  </a:blip>
                  <a:stretch>
                    <a:fillRect/>
                  </a:stretch>
                </a:blipFill>
                <a:ln cap="sq">
                  <a:noFill/>
                  <a:prstDash val="solid"/>
                  <a:miter/>
                </a:ln>
              </p:spPr>
              <p:txBody>
                <a:bodyPr/>
                <a:lstStyle/>
                <a:p>
                  <a:endParaRPr lang="en-US" dirty="0"/>
                </a:p>
              </p:txBody>
            </p:sp>
            <p:sp>
              <p:nvSpPr>
                <p:cNvPr id="32" name="Freeform: Shape 31">
                  <a:extLst>
                    <a:ext uri="{FF2B5EF4-FFF2-40B4-BE49-F238E27FC236}">
                      <a16:creationId xmlns:a16="http://schemas.microsoft.com/office/drawing/2014/main" id="{105F97B5-ACF5-9E99-3B10-8A04A6CD6D8B}"/>
                    </a:ext>
                  </a:extLst>
                </p:cNvPr>
                <p:cNvSpPr/>
                <p:nvPr/>
              </p:nvSpPr>
              <p:spPr>
                <a:xfrm>
                  <a:off x="5256883" y="7330177"/>
                  <a:ext cx="272415" cy="292243"/>
                </a:xfrm>
                <a:custGeom>
                  <a:avLst/>
                  <a:gdLst>
                    <a:gd name="connsiteX0" fmla="*/ 78039 w 272415"/>
                    <a:gd name="connsiteY0" fmla="*/ 159024 h 292243"/>
                    <a:gd name="connsiteX1" fmla="*/ 190122 w 272415"/>
                    <a:gd name="connsiteY1" fmla="*/ 159024 h 292243"/>
                    <a:gd name="connsiteX2" fmla="*/ 256731 w 272415"/>
                    <a:gd name="connsiteY2" fmla="*/ 225632 h 292243"/>
                    <a:gd name="connsiteX3" fmla="*/ 255663 w 272415"/>
                    <a:gd name="connsiteY3" fmla="*/ 230924 h 292243"/>
                    <a:gd name="connsiteX4" fmla="*/ 263768 w 272415"/>
                    <a:gd name="connsiteY4" fmla="*/ 234281 h 292243"/>
                    <a:gd name="connsiteX5" fmla="*/ 272415 w 272415"/>
                    <a:gd name="connsiteY5" fmla="*/ 255161 h 292243"/>
                    <a:gd name="connsiteX6" fmla="*/ 272415 w 272415"/>
                    <a:gd name="connsiteY6" fmla="*/ 262715 h 292243"/>
                    <a:gd name="connsiteX7" fmla="*/ 263768 w 272415"/>
                    <a:gd name="connsiteY7" fmla="*/ 283595 h 292243"/>
                    <a:gd name="connsiteX8" fmla="*/ 242888 w 272415"/>
                    <a:gd name="connsiteY8" fmla="*/ 292242 h 292243"/>
                    <a:gd name="connsiteX9" fmla="*/ 222008 w 272415"/>
                    <a:gd name="connsiteY9" fmla="*/ 283595 h 292243"/>
                    <a:gd name="connsiteX10" fmla="*/ 221812 w 272415"/>
                    <a:gd name="connsiteY10" fmla="*/ 283123 h 292243"/>
                    <a:gd name="connsiteX11" fmla="*/ 216050 w 272415"/>
                    <a:gd name="connsiteY11" fmla="*/ 287009 h 292243"/>
                    <a:gd name="connsiteX12" fmla="*/ 190122 w 272415"/>
                    <a:gd name="connsiteY12" fmla="*/ 292243 h 292243"/>
                    <a:gd name="connsiteX13" fmla="*/ 78039 w 272415"/>
                    <a:gd name="connsiteY13" fmla="*/ 292243 h 292243"/>
                    <a:gd name="connsiteX14" fmla="*/ 52113 w 272415"/>
                    <a:gd name="connsiteY14" fmla="*/ 287009 h 292243"/>
                    <a:gd name="connsiteX15" fmla="*/ 48327 w 272415"/>
                    <a:gd name="connsiteY15" fmla="*/ 284456 h 292243"/>
                    <a:gd name="connsiteX16" fmla="*/ 29528 w 272415"/>
                    <a:gd name="connsiteY16" fmla="*/ 292242 h 292243"/>
                    <a:gd name="connsiteX17" fmla="*/ 8647 w 272415"/>
                    <a:gd name="connsiteY17" fmla="*/ 283595 h 292243"/>
                    <a:gd name="connsiteX18" fmla="*/ 0 w 272415"/>
                    <a:gd name="connsiteY18" fmla="*/ 262715 h 292243"/>
                    <a:gd name="connsiteX19" fmla="*/ 0 w 272415"/>
                    <a:gd name="connsiteY19" fmla="*/ 255161 h 292243"/>
                    <a:gd name="connsiteX20" fmla="*/ 8647 w 272415"/>
                    <a:gd name="connsiteY20" fmla="*/ 234281 h 292243"/>
                    <a:gd name="connsiteX21" fmla="*/ 12827 w 272415"/>
                    <a:gd name="connsiteY21" fmla="*/ 232550 h 292243"/>
                    <a:gd name="connsiteX22" fmla="*/ 11430 w 272415"/>
                    <a:gd name="connsiteY22" fmla="*/ 225632 h 292243"/>
                    <a:gd name="connsiteX23" fmla="*/ 78039 w 272415"/>
                    <a:gd name="connsiteY23" fmla="*/ 159024 h 292243"/>
                    <a:gd name="connsiteX24" fmla="*/ 132784 w 272415"/>
                    <a:gd name="connsiteY24" fmla="*/ 0 h 292243"/>
                    <a:gd name="connsiteX25" fmla="*/ 193319 w 272415"/>
                    <a:gd name="connsiteY25" fmla="*/ 60535 h 292243"/>
                    <a:gd name="connsiteX26" fmla="*/ 132784 w 272415"/>
                    <a:gd name="connsiteY26" fmla="*/ 121070 h 292243"/>
                    <a:gd name="connsiteX27" fmla="*/ 72249 w 272415"/>
                    <a:gd name="connsiteY27" fmla="*/ 60535 h 292243"/>
                    <a:gd name="connsiteX28" fmla="*/ 132784 w 272415"/>
                    <a:gd name="connsiteY28" fmla="*/ 0 h 292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2415" h="292243">
                      <a:moveTo>
                        <a:pt x="78039" y="159024"/>
                      </a:moveTo>
                      <a:lnTo>
                        <a:pt x="190122" y="159024"/>
                      </a:lnTo>
                      <a:cubicBezTo>
                        <a:pt x="226911" y="159024"/>
                        <a:pt x="256731" y="188847"/>
                        <a:pt x="256731" y="225632"/>
                      </a:cubicBezTo>
                      <a:lnTo>
                        <a:pt x="255663" y="230924"/>
                      </a:lnTo>
                      <a:lnTo>
                        <a:pt x="263768" y="234281"/>
                      </a:lnTo>
                      <a:cubicBezTo>
                        <a:pt x="269304" y="239820"/>
                        <a:pt x="272415" y="247328"/>
                        <a:pt x="272415" y="255161"/>
                      </a:cubicBezTo>
                      <a:lnTo>
                        <a:pt x="272415" y="262715"/>
                      </a:lnTo>
                      <a:cubicBezTo>
                        <a:pt x="272415" y="270547"/>
                        <a:pt x="269304" y="278056"/>
                        <a:pt x="263768" y="283595"/>
                      </a:cubicBezTo>
                      <a:cubicBezTo>
                        <a:pt x="258229" y="289131"/>
                        <a:pt x="250720" y="292242"/>
                        <a:pt x="242888" y="292242"/>
                      </a:cubicBezTo>
                      <a:cubicBezTo>
                        <a:pt x="235055" y="292242"/>
                        <a:pt x="227546" y="289131"/>
                        <a:pt x="222008" y="283595"/>
                      </a:cubicBezTo>
                      <a:lnTo>
                        <a:pt x="221812" y="283123"/>
                      </a:lnTo>
                      <a:lnTo>
                        <a:pt x="216050" y="287009"/>
                      </a:lnTo>
                      <a:cubicBezTo>
                        <a:pt x="208081" y="290379"/>
                        <a:pt x="199319" y="292243"/>
                        <a:pt x="190122" y="292243"/>
                      </a:cubicBezTo>
                      <a:lnTo>
                        <a:pt x="78039" y="292243"/>
                      </a:lnTo>
                      <a:cubicBezTo>
                        <a:pt x="68843" y="292243"/>
                        <a:pt x="60082" y="290379"/>
                        <a:pt x="52113" y="287009"/>
                      </a:cubicBezTo>
                      <a:lnTo>
                        <a:pt x="48327" y="284456"/>
                      </a:lnTo>
                      <a:lnTo>
                        <a:pt x="29528" y="292242"/>
                      </a:lnTo>
                      <a:cubicBezTo>
                        <a:pt x="21695" y="292242"/>
                        <a:pt x="14186" y="289131"/>
                        <a:pt x="8647" y="283595"/>
                      </a:cubicBezTo>
                      <a:cubicBezTo>
                        <a:pt x="3111" y="278056"/>
                        <a:pt x="0" y="270547"/>
                        <a:pt x="0" y="262715"/>
                      </a:cubicBezTo>
                      <a:lnTo>
                        <a:pt x="0" y="255161"/>
                      </a:lnTo>
                      <a:cubicBezTo>
                        <a:pt x="0" y="247328"/>
                        <a:pt x="3111" y="239820"/>
                        <a:pt x="8647" y="234281"/>
                      </a:cubicBezTo>
                      <a:lnTo>
                        <a:pt x="12827" y="232550"/>
                      </a:lnTo>
                      <a:lnTo>
                        <a:pt x="11430" y="225632"/>
                      </a:lnTo>
                      <a:cubicBezTo>
                        <a:pt x="11430" y="188847"/>
                        <a:pt x="41254" y="159024"/>
                        <a:pt x="78039" y="159024"/>
                      </a:cubicBezTo>
                      <a:close/>
                      <a:moveTo>
                        <a:pt x="132784" y="0"/>
                      </a:moveTo>
                      <a:cubicBezTo>
                        <a:pt x="166217" y="0"/>
                        <a:pt x="193319" y="27102"/>
                        <a:pt x="193319" y="60535"/>
                      </a:cubicBezTo>
                      <a:cubicBezTo>
                        <a:pt x="193319" y="93967"/>
                        <a:pt x="166217" y="121070"/>
                        <a:pt x="132784" y="121070"/>
                      </a:cubicBezTo>
                      <a:cubicBezTo>
                        <a:pt x="99352" y="121070"/>
                        <a:pt x="72249" y="93967"/>
                        <a:pt x="72249" y="60535"/>
                      </a:cubicBezTo>
                      <a:cubicBezTo>
                        <a:pt x="72249" y="27102"/>
                        <a:pt x="99352" y="0"/>
                        <a:pt x="132784" y="0"/>
                      </a:cubicBezTo>
                      <a:close/>
                    </a:path>
                  </a:pathLst>
                </a:custGeom>
                <a:solidFill>
                  <a:srgbClr val="D1FF95"/>
                </a:solidFill>
                <a:ln cap="rnd">
                  <a:noFill/>
                  <a:prstDash val="solid"/>
                  <a:round/>
                </a:ln>
              </p:spPr>
              <p:txBody>
                <a:bodyPr wrap="square">
                  <a:noAutofit/>
                </a:bodyPr>
                <a:lstStyle/>
                <a:p>
                  <a:endParaRPr lang="en-US" dirty="0"/>
                </a:p>
              </p:txBody>
            </p:sp>
          </p:grpSp>
        </p:grpSp>
        <p:sp>
          <p:nvSpPr>
            <p:cNvPr id="2" name="AutoShape 2"/>
            <p:cNvSpPr/>
            <p:nvPr/>
          </p:nvSpPr>
          <p:spPr>
            <a:xfrm>
              <a:off x="781695" y="6700831"/>
              <a:ext cx="6022305" cy="0"/>
            </a:xfrm>
            <a:prstGeom prst="line">
              <a:avLst/>
            </a:prstGeom>
            <a:ln w="9525" cap="flat">
              <a:solidFill>
                <a:srgbClr val="FFFFFF">
                  <a:alpha val="24706"/>
                </a:srgbClr>
              </a:solidFill>
              <a:prstDash val="solid"/>
              <a:headEnd type="none" w="sm" len="sm"/>
              <a:tailEnd type="none" w="sm" len="sm"/>
            </a:ln>
          </p:spPr>
          <p:txBody>
            <a:bodyPr/>
            <a:lstStyle/>
            <a:p>
              <a:endParaRPr lang="en-US" dirty="0"/>
            </a:p>
          </p:txBody>
        </p:sp>
        <p:grpSp>
          <p:nvGrpSpPr>
            <p:cNvPr id="35" name="Group 34">
              <a:extLst>
                <a:ext uri="{FF2B5EF4-FFF2-40B4-BE49-F238E27FC236}">
                  <a16:creationId xmlns:a16="http://schemas.microsoft.com/office/drawing/2014/main" id="{E9F82B00-7CED-4390-6EA2-3AC29B060DBD}"/>
                </a:ext>
              </a:extLst>
            </p:cNvPr>
            <p:cNvGrpSpPr/>
            <p:nvPr/>
          </p:nvGrpSpPr>
          <p:grpSpPr>
            <a:xfrm>
              <a:off x="756000" y="3836573"/>
              <a:ext cx="6048000" cy="2287367"/>
              <a:chOff x="756000" y="3836573"/>
              <a:chExt cx="6048000" cy="2287367"/>
            </a:xfrm>
          </p:grpSpPr>
          <p:sp>
            <p:nvSpPr>
              <p:cNvPr id="3" name="Freeform 3"/>
              <p:cNvSpPr/>
              <p:nvPr/>
            </p:nvSpPr>
            <p:spPr>
              <a:xfrm>
                <a:off x="5109407" y="3874739"/>
                <a:ext cx="560520" cy="435104"/>
              </a:xfrm>
              <a:custGeom>
                <a:avLst/>
                <a:gdLst/>
                <a:ahLst/>
                <a:cxnLst/>
                <a:rect l="l" t="t" r="r" b="b"/>
                <a:pathLst>
                  <a:path w="560520" h="435104">
                    <a:moveTo>
                      <a:pt x="0" y="0"/>
                    </a:moveTo>
                    <a:lnTo>
                      <a:pt x="560520" y="0"/>
                    </a:lnTo>
                    <a:lnTo>
                      <a:pt x="560520" y="435103"/>
                    </a:lnTo>
                    <a:lnTo>
                      <a:pt x="0" y="435103"/>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dirty="0"/>
              </a:p>
            </p:txBody>
          </p:sp>
          <p:sp>
            <p:nvSpPr>
              <p:cNvPr id="53" name="Freeform 53"/>
              <p:cNvSpPr/>
              <p:nvPr/>
            </p:nvSpPr>
            <p:spPr>
              <a:xfrm>
                <a:off x="2932704" y="3836573"/>
                <a:ext cx="497791" cy="555415"/>
              </a:xfrm>
              <a:custGeom>
                <a:avLst/>
                <a:gdLst/>
                <a:ahLst/>
                <a:cxnLst/>
                <a:rect l="l" t="t" r="r" b="b"/>
                <a:pathLst>
                  <a:path w="497791" h="555415">
                    <a:moveTo>
                      <a:pt x="0" y="0"/>
                    </a:moveTo>
                    <a:lnTo>
                      <a:pt x="497791" y="0"/>
                    </a:lnTo>
                    <a:lnTo>
                      <a:pt x="497791" y="555415"/>
                    </a:lnTo>
                    <a:lnTo>
                      <a:pt x="0" y="555415"/>
                    </a:lnTo>
                    <a:lnTo>
                      <a:pt x="0" y="0"/>
                    </a:lnTo>
                    <a:close/>
                  </a:path>
                </a:pathLst>
              </a:custGeom>
              <a:blipFill>
                <a:blip r:embed="rId11">
                  <a:extLst>
                    <a:ext uri="{96DAC541-7B7A-43D3-8B79-37D633B846F1}">
                      <asvg:svgBlip xmlns:asvg="http://schemas.microsoft.com/office/drawing/2016/SVG/main" r:embed="rId12"/>
                    </a:ext>
                  </a:extLst>
                </a:blip>
                <a:stretch>
                  <a:fillRect/>
                </a:stretch>
              </a:blipFill>
              <a:ln cap="sq">
                <a:noFill/>
                <a:prstDash val="solid"/>
                <a:miter/>
              </a:ln>
            </p:spPr>
            <p:txBody>
              <a:bodyPr/>
              <a:lstStyle/>
              <a:p>
                <a:endParaRPr lang="en-US" dirty="0"/>
              </a:p>
            </p:txBody>
          </p:sp>
          <p:sp>
            <p:nvSpPr>
              <p:cNvPr id="54" name="TextBox 54"/>
              <p:cNvSpPr txBox="1"/>
              <p:nvPr/>
            </p:nvSpPr>
            <p:spPr>
              <a:xfrm>
                <a:off x="756000" y="4556658"/>
                <a:ext cx="1694593" cy="353238"/>
              </a:xfrm>
              <a:prstGeom prst="rect">
                <a:avLst/>
              </a:prstGeom>
            </p:spPr>
            <p:txBody>
              <a:bodyPr lIns="0" tIns="0" rIns="0" bIns="0" rtlCol="0" anchor="t">
                <a:spAutoFit/>
              </a:bodyPr>
              <a:lstStyle/>
              <a:p>
                <a:pPr>
                  <a:lnSpc>
                    <a:spcPts val="1375"/>
                  </a:lnSpc>
                </a:pPr>
                <a:r>
                  <a:rPr lang="en-US" sz="1100" b="1" dirty="0">
                    <a:solidFill>
                      <a:srgbClr val="FFFFFF"/>
                    </a:solidFill>
                    <a:latin typeface="Red Hat Display" panose="02010303040201060303" pitchFamily="2" charset="0"/>
                  </a:rPr>
                  <a:t>Digital </a:t>
                </a:r>
              </a:p>
              <a:p>
                <a:pPr>
                  <a:lnSpc>
                    <a:spcPts val="1375"/>
                  </a:lnSpc>
                </a:pPr>
                <a:r>
                  <a:rPr lang="en-US" sz="1100" b="1" dirty="0">
                    <a:solidFill>
                      <a:srgbClr val="FFFFFF"/>
                    </a:solidFill>
                    <a:latin typeface="Red Hat Display" panose="02010303040201060303" pitchFamily="2" charset="0"/>
                  </a:rPr>
                  <a:t>Literacy</a:t>
                </a:r>
              </a:p>
            </p:txBody>
          </p:sp>
          <p:sp>
            <p:nvSpPr>
              <p:cNvPr id="55" name="TextBox 55"/>
              <p:cNvSpPr txBox="1"/>
              <p:nvPr/>
            </p:nvSpPr>
            <p:spPr>
              <a:xfrm>
                <a:off x="756000" y="4997798"/>
                <a:ext cx="1694593" cy="1126142"/>
              </a:xfrm>
              <a:prstGeom prst="rect">
                <a:avLst/>
              </a:prstGeom>
            </p:spPr>
            <p:txBody>
              <a:bodyPr lIns="0" tIns="0" rIns="0" bIns="0" rtlCol="0" anchor="t">
                <a:spAutoFit/>
              </a:bodyPr>
              <a:lstStyle/>
              <a:p>
                <a:pPr>
                  <a:lnSpc>
                    <a:spcPts val="1079"/>
                  </a:lnSpc>
                </a:pPr>
                <a:r>
                  <a:rPr lang="en-US" sz="899" dirty="0">
                    <a:solidFill>
                      <a:srgbClr val="FFFFFF">
                        <a:alpha val="94902"/>
                      </a:srgbClr>
                    </a:solidFill>
                    <a:latin typeface="DM Sans" pitchFamily="2" charset="0"/>
                  </a:rPr>
                  <a:t>Master digital, platforms, software for efficient information management, effective communication, </a:t>
                </a:r>
              </a:p>
              <a:p>
                <a:pPr>
                  <a:lnSpc>
                    <a:spcPts val="1079"/>
                  </a:lnSpc>
                </a:pPr>
                <a:r>
                  <a:rPr lang="en-US" sz="899" dirty="0">
                    <a:solidFill>
                      <a:srgbClr val="FFFFFF">
                        <a:alpha val="94902"/>
                      </a:srgbClr>
                    </a:solidFill>
                    <a:latin typeface="DM Sans" pitchFamily="2" charset="0"/>
                  </a:rPr>
                  <a:t>and seamless technology </a:t>
                </a:r>
              </a:p>
              <a:p>
                <a:pPr>
                  <a:lnSpc>
                    <a:spcPts val="1079"/>
                  </a:lnSpc>
                </a:pPr>
                <a:r>
                  <a:rPr lang="en-US" sz="899" dirty="0">
                    <a:solidFill>
                      <a:srgbClr val="FFFFFF">
                        <a:alpha val="94902"/>
                      </a:srgbClr>
                    </a:solidFill>
                    <a:latin typeface="DM Sans" pitchFamily="2" charset="0"/>
                  </a:rPr>
                  <a:t>use in diverse workplace </a:t>
                </a:r>
              </a:p>
              <a:p>
                <a:pPr marL="0" lvl="0" indent="0">
                  <a:lnSpc>
                    <a:spcPts val="1079"/>
                  </a:lnSpc>
                  <a:spcBef>
                    <a:spcPct val="0"/>
                  </a:spcBef>
                </a:pPr>
                <a:r>
                  <a:rPr lang="en-US" sz="899" dirty="0">
                    <a:solidFill>
                      <a:srgbClr val="FFFFFF">
                        <a:alpha val="94902"/>
                      </a:srgbClr>
                    </a:solidFill>
                    <a:latin typeface="DM Sans" pitchFamily="2" charset="0"/>
                  </a:rPr>
                  <a:t>tasks-critical for modern proficiency and success</a:t>
                </a:r>
              </a:p>
            </p:txBody>
          </p:sp>
          <p:sp>
            <p:nvSpPr>
              <p:cNvPr id="60" name="TextBox 60"/>
              <p:cNvSpPr txBox="1"/>
              <p:nvPr/>
            </p:nvSpPr>
            <p:spPr>
              <a:xfrm>
                <a:off x="2932704" y="4997798"/>
                <a:ext cx="1694593" cy="1126142"/>
              </a:xfrm>
              <a:prstGeom prst="rect">
                <a:avLst/>
              </a:prstGeom>
            </p:spPr>
            <p:txBody>
              <a:bodyPr lIns="0" tIns="0" rIns="0" bIns="0" rtlCol="0" anchor="t">
                <a:spAutoFit/>
              </a:bodyPr>
              <a:lstStyle/>
              <a:p>
                <a:pPr marL="0" lvl="0" indent="0" algn="l">
                  <a:lnSpc>
                    <a:spcPts val="1079"/>
                  </a:lnSpc>
                  <a:spcBef>
                    <a:spcPct val="0"/>
                  </a:spcBef>
                </a:pPr>
                <a:r>
                  <a:rPr lang="en-US" sz="899" u="none" strike="noStrike" dirty="0">
                    <a:solidFill>
                      <a:srgbClr val="FFFFFF">
                        <a:alpha val="94902"/>
                      </a:srgbClr>
                    </a:solidFill>
                    <a:latin typeface="DM Sans" pitchFamily="2" charset="0"/>
                  </a:rPr>
                  <a:t>Develop a solid understanding </a:t>
                </a:r>
              </a:p>
              <a:p>
                <a:pPr marL="0" lvl="0" indent="0" algn="l">
                  <a:lnSpc>
                    <a:spcPts val="1079"/>
                  </a:lnSpc>
                  <a:spcBef>
                    <a:spcPct val="0"/>
                  </a:spcBef>
                </a:pPr>
                <a:r>
                  <a:rPr lang="en-US" sz="899" u="none" strike="noStrike" dirty="0">
                    <a:solidFill>
                      <a:srgbClr val="FFFFFF">
                        <a:alpha val="94902"/>
                      </a:srgbClr>
                    </a:solidFill>
                    <a:latin typeface="DM Sans" pitchFamily="2" charset="0"/>
                  </a:rPr>
                  <a:t>of cybersecurity principles </a:t>
                </a:r>
              </a:p>
              <a:p>
                <a:pPr marL="0" lvl="0" indent="0" algn="l">
                  <a:lnSpc>
                    <a:spcPts val="1079"/>
                  </a:lnSpc>
                  <a:spcBef>
                    <a:spcPct val="0"/>
                  </a:spcBef>
                </a:pPr>
                <a:r>
                  <a:rPr lang="en-US" sz="899" u="none" strike="noStrike" dirty="0">
                    <a:solidFill>
                      <a:srgbClr val="FFFFFF">
                        <a:alpha val="94902"/>
                      </a:srgbClr>
                    </a:solidFill>
                    <a:latin typeface="DM Sans" pitchFamily="2" charset="0"/>
                  </a:rPr>
                  <a:t>to protect sensitive data </a:t>
                </a:r>
              </a:p>
              <a:p>
                <a:pPr marL="0" lvl="0" indent="0" algn="l">
                  <a:lnSpc>
                    <a:spcPts val="1079"/>
                  </a:lnSpc>
                  <a:spcBef>
                    <a:spcPct val="0"/>
                  </a:spcBef>
                </a:pPr>
                <a:r>
                  <a:rPr lang="en-US" sz="899" u="none" strike="noStrike" dirty="0">
                    <a:solidFill>
                      <a:srgbClr val="FFFFFF">
                        <a:alpha val="94902"/>
                      </a:srgbClr>
                    </a:solidFill>
                    <a:latin typeface="DM Sans" pitchFamily="2" charset="0"/>
                  </a:rPr>
                  <a:t>and maintain a secure digital environment. Learn to identify and mitigate potential threats, ensuring the safety of online activities within the workplace</a:t>
                </a:r>
              </a:p>
            </p:txBody>
          </p:sp>
          <p:sp>
            <p:nvSpPr>
              <p:cNvPr id="61" name="TextBox 61"/>
              <p:cNvSpPr txBox="1"/>
              <p:nvPr/>
            </p:nvSpPr>
            <p:spPr>
              <a:xfrm>
                <a:off x="5109407" y="4997798"/>
                <a:ext cx="1694593" cy="1126142"/>
              </a:xfrm>
              <a:prstGeom prst="rect">
                <a:avLst/>
              </a:prstGeom>
            </p:spPr>
            <p:txBody>
              <a:bodyPr lIns="0" tIns="0" rIns="0" bIns="0" rtlCol="0" anchor="t">
                <a:spAutoFit/>
              </a:bodyPr>
              <a:lstStyle/>
              <a:p>
                <a:pPr marL="0" lvl="0" indent="0" algn="l">
                  <a:lnSpc>
                    <a:spcPts val="1079"/>
                  </a:lnSpc>
                  <a:spcBef>
                    <a:spcPct val="0"/>
                  </a:spcBef>
                </a:pPr>
                <a:r>
                  <a:rPr lang="en-US" sz="899" u="none" strike="noStrike" dirty="0">
                    <a:solidFill>
                      <a:srgbClr val="FFFFFF">
                        <a:alpha val="94902"/>
                      </a:srgbClr>
                    </a:solidFill>
                    <a:latin typeface="DM Sans" pitchFamily="2" charset="0"/>
                  </a:rPr>
                  <a:t>Excel in cloud computing </a:t>
                </a:r>
              </a:p>
              <a:p>
                <a:pPr marL="0" lvl="0" indent="0" algn="l">
                  <a:lnSpc>
                    <a:spcPts val="1079"/>
                  </a:lnSpc>
                  <a:spcBef>
                    <a:spcPct val="0"/>
                  </a:spcBef>
                </a:pPr>
                <a:r>
                  <a:rPr lang="en-US" sz="899" u="none" strike="noStrike" dirty="0">
                    <a:solidFill>
                      <a:srgbClr val="FFFFFF">
                        <a:alpha val="94902"/>
                      </a:srgbClr>
                    </a:solidFill>
                    <a:latin typeface="DM Sans" pitchFamily="2" charset="0"/>
                  </a:rPr>
                  <a:t>for improved collaboration, accessibility, and data storage. Develop expertise in tools like Google Workspace, Microsoft 365, or similar platforms for smooth remote work and effective data management</a:t>
                </a:r>
              </a:p>
            </p:txBody>
          </p:sp>
          <p:sp>
            <p:nvSpPr>
              <p:cNvPr id="62" name="TextBox 62"/>
              <p:cNvSpPr txBox="1"/>
              <p:nvPr/>
            </p:nvSpPr>
            <p:spPr>
              <a:xfrm>
                <a:off x="2932704" y="4556658"/>
                <a:ext cx="1694593" cy="353238"/>
              </a:xfrm>
              <a:prstGeom prst="rect">
                <a:avLst/>
              </a:prstGeom>
            </p:spPr>
            <p:txBody>
              <a:bodyPr lIns="0" tIns="0" rIns="0" bIns="0" rtlCol="0" anchor="t">
                <a:spAutoFit/>
              </a:bodyPr>
              <a:lstStyle/>
              <a:p>
                <a:pPr>
                  <a:lnSpc>
                    <a:spcPts val="1375"/>
                  </a:lnSpc>
                </a:pPr>
                <a:r>
                  <a:rPr lang="en-US" sz="1100" b="1" dirty="0">
                    <a:solidFill>
                      <a:srgbClr val="FFFFFF"/>
                    </a:solidFill>
                    <a:latin typeface="Red Hat Display" panose="02010303040201060303" pitchFamily="2" charset="0"/>
                  </a:rPr>
                  <a:t>Cybersecurity Awareness</a:t>
                </a:r>
              </a:p>
            </p:txBody>
          </p:sp>
          <p:sp>
            <p:nvSpPr>
              <p:cNvPr id="63" name="TextBox 63"/>
              <p:cNvSpPr txBox="1"/>
              <p:nvPr/>
            </p:nvSpPr>
            <p:spPr>
              <a:xfrm>
                <a:off x="5109407" y="4556658"/>
                <a:ext cx="1694593" cy="353238"/>
              </a:xfrm>
              <a:prstGeom prst="rect">
                <a:avLst/>
              </a:prstGeom>
            </p:spPr>
            <p:txBody>
              <a:bodyPr lIns="0" tIns="0" rIns="0" bIns="0" rtlCol="0" anchor="t">
                <a:spAutoFit/>
              </a:bodyPr>
              <a:lstStyle/>
              <a:p>
                <a:pPr>
                  <a:lnSpc>
                    <a:spcPts val="1375"/>
                  </a:lnSpc>
                </a:pPr>
                <a:r>
                  <a:rPr lang="en-US" sz="1100" b="1" dirty="0">
                    <a:solidFill>
                      <a:srgbClr val="FFFFFF"/>
                    </a:solidFill>
                    <a:latin typeface="Red Hat Display" panose="02010303040201060303" pitchFamily="2" charset="0"/>
                  </a:rPr>
                  <a:t>Cloud </a:t>
                </a:r>
              </a:p>
              <a:p>
                <a:pPr>
                  <a:lnSpc>
                    <a:spcPts val="1375"/>
                  </a:lnSpc>
                </a:pPr>
                <a:r>
                  <a:rPr lang="en-US" sz="1100" b="1" dirty="0">
                    <a:solidFill>
                      <a:srgbClr val="FFFFFF"/>
                    </a:solidFill>
                    <a:latin typeface="Red Hat Display" panose="02010303040201060303" pitchFamily="2" charset="0"/>
                  </a:rPr>
                  <a:t>Proficiency</a:t>
                </a:r>
              </a:p>
            </p:txBody>
          </p:sp>
          <p:grpSp>
            <p:nvGrpSpPr>
              <p:cNvPr id="17" name="Group 16">
                <a:extLst>
                  <a:ext uri="{FF2B5EF4-FFF2-40B4-BE49-F238E27FC236}">
                    <a16:creationId xmlns:a16="http://schemas.microsoft.com/office/drawing/2014/main" id="{AF965D70-28EC-1D9D-3A2E-BE1AE2476B17}"/>
                  </a:ext>
                </a:extLst>
              </p:cNvPr>
              <p:cNvGrpSpPr/>
              <p:nvPr/>
            </p:nvGrpSpPr>
            <p:grpSpPr>
              <a:xfrm>
                <a:off x="756000" y="3836573"/>
                <a:ext cx="547655" cy="547655"/>
                <a:chOff x="756000" y="3836573"/>
                <a:chExt cx="547655" cy="547655"/>
              </a:xfrm>
            </p:grpSpPr>
            <p:sp>
              <p:nvSpPr>
                <p:cNvPr id="20" name="Freeform: Shape 19">
                  <a:extLst>
                    <a:ext uri="{FF2B5EF4-FFF2-40B4-BE49-F238E27FC236}">
                      <a16:creationId xmlns:a16="http://schemas.microsoft.com/office/drawing/2014/main" id="{1C7A9C38-05C4-A77D-DE78-7078C796EFB7}"/>
                    </a:ext>
                  </a:extLst>
                </p:cNvPr>
                <p:cNvSpPr/>
                <p:nvPr/>
              </p:nvSpPr>
              <p:spPr>
                <a:xfrm>
                  <a:off x="756000" y="3836573"/>
                  <a:ext cx="540843" cy="546737"/>
                </a:xfrm>
                <a:custGeom>
                  <a:avLst/>
                  <a:gdLst>
                    <a:gd name="connsiteX0" fmla="*/ 393138 w 540843"/>
                    <a:gd name="connsiteY0" fmla="*/ 460923 h 546737"/>
                    <a:gd name="connsiteX1" fmla="*/ 437734 w 540843"/>
                    <a:gd name="connsiteY1" fmla="*/ 460923 h 546737"/>
                    <a:gd name="connsiteX2" fmla="*/ 437734 w 540843"/>
                    <a:gd name="connsiteY2" fmla="*/ 546737 h 546737"/>
                    <a:gd name="connsiteX3" fmla="*/ 393138 w 540843"/>
                    <a:gd name="connsiteY3" fmla="*/ 546737 h 546737"/>
                    <a:gd name="connsiteX4" fmla="*/ 296570 w 540843"/>
                    <a:gd name="connsiteY4" fmla="*/ 460923 h 546737"/>
                    <a:gd name="connsiteX5" fmla="*/ 341166 w 540843"/>
                    <a:gd name="connsiteY5" fmla="*/ 460923 h 546737"/>
                    <a:gd name="connsiteX6" fmla="*/ 341166 w 540843"/>
                    <a:gd name="connsiteY6" fmla="*/ 546737 h 546737"/>
                    <a:gd name="connsiteX7" fmla="*/ 296570 w 540843"/>
                    <a:gd name="connsiteY7" fmla="*/ 546737 h 546737"/>
                    <a:gd name="connsiteX8" fmla="*/ 200002 w 540843"/>
                    <a:gd name="connsiteY8" fmla="*/ 460923 h 546737"/>
                    <a:gd name="connsiteX9" fmla="*/ 244598 w 540843"/>
                    <a:gd name="connsiteY9" fmla="*/ 460923 h 546737"/>
                    <a:gd name="connsiteX10" fmla="*/ 244598 w 540843"/>
                    <a:gd name="connsiteY10" fmla="*/ 546737 h 546737"/>
                    <a:gd name="connsiteX11" fmla="*/ 200002 w 540843"/>
                    <a:gd name="connsiteY11" fmla="*/ 546737 h 546737"/>
                    <a:gd name="connsiteX12" fmla="*/ 103434 w 540843"/>
                    <a:gd name="connsiteY12" fmla="*/ 460923 h 546737"/>
                    <a:gd name="connsiteX13" fmla="*/ 148030 w 540843"/>
                    <a:gd name="connsiteY13" fmla="*/ 460923 h 546737"/>
                    <a:gd name="connsiteX14" fmla="*/ 148030 w 540843"/>
                    <a:gd name="connsiteY14" fmla="*/ 546737 h 546737"/>
                    <a:gd name="connsiteX15" fmla="*/ 103434 w 540843"/>
                    <a:gd name="connsiteY15" fmla="*/ 546737 h 546737"/>
                    <a:gd name="connsiteX16" fmla="*/ 455029 w 540843"/>
                    <a:gd name="connsiteY16" fmla="*/ 396381 h 546737"/>
                    <a:gd name="connsiteX17" fmla="*/ 540843 w 540843"/>
                    <a:gd name="connsiteY17" fmla="*/ 396381 h 546737"/>
                    <a:gd name="connsiteX18" fmla="*/ 540843 w 540843"/>
                    <a:gd name="connsiteY18" fmla="*/ 440977 h 546737"/>
                    <a:gd name="connsiteX19" fmla="*/ 455029 w 540843"/>
                    <a:gd name="connsiteY19" fmla="*/ 440977 h 546737"/>
                    <a:gd name="connsiteX20" fmla="*/ 0 w 540843"/>
                    <a:gd name="connsiteY20" fmla="*/ 396381 h 546737"/>
                    <a:gd name="connsiteX21" fmla="*/ 85814 w 540843"/>
                    <a:gd name="connsiteY21" fmla="*/ 396381 h 546737"/>
                    <a:gd name="connsiteX22" fmla="*/ 85814 w 540843"/>
                    <a:gd name="connsiteY22" fmla="*/ 440977 h 546737"/>
                    <a:gd name="connsiteX23" fmla="*/ 0 w 540843"/>
                    <a:gd name="connsiteY23" fmla="*/ 440977 h 546737"/>
                    <a:gd name="connsiteX24" fmla="*/ 455029 w 540843"/>
                    <a:gd name="connsiteY24" fmla="*/ 299813 h 546737"/>
                    <a:gd name="connsiteX25" fmla="*/ 540843 w 540843"/>
                    <a:gd name="connsiteY25" fmla="*/ 299813 h 546737"/>
                    <a:gd name="connsiteX26" fmla="*/ 540843 w 540843"/>
                    <a:gd name="connsiteY26" fmla="*/ 344409 h 546737"/>
                    <a:gd name="connsiteX27" fmla="*/ 455029 w 540843"/>
                    <a:gd name="connsiteY27" fmla="*/ 344409 h 546737"/>
                    <a:gd name="connsiteX28" fmla="*/ 0 w 540843"/>
                    <a:gd name="connsiteY28" fmla="*/ 299813 h 546737"/>
                    <a:gd name="connsiteX29" fmla="*/ 85814 w 540843"/>
                    <a:gd name="connsiteY29" fmla="*/ 299813 h 546737"/>
                    <a:gd name="connsiteX30" fmla="*/ 85814 w 540843"/>
                    <a:gd name="connsiteY30" fmla="*/ 344409 h 546737"/>
                    <a:gd name="connsiteX31" fmla="*/ 0 w 540843"/>
                    <a:gd name="connsiteY31" fmla="*/ 344409 h 546737"/>
                    <a:gd name="connsiteX32" fmla="*/ 455029 w 540843"/>
                    <a:gd name="connsiteY32" fmla="*/ 203246 h 546737"/>
                    <a:gd name="connsiteX33" fmla="*/ 540843 w 540843"/>
                    <a:gd name="connsiteY33" fmla="*/ 203246 h 546737"/>
                    <a:gd name="connsiteX34" fmla="*/ 540843 w 540843"/>
                    <a:gd name="connsiteY34" fmla="*/ 247842 h 546737"/>
                    <a:gd name="connsiteX35" fmla="*/ 455029 w 540843"/>
                    <a:gd name="connsiteY35" fmla="*/ 247842 h 546737"/>
                    <a:gd name="connsiteX36" fmla="*/ 0 w 540843"/>
                    <a:gd name="connsiteY36" fmla="*/ 203246 h 546737"/>
                    <a:gd name="connsiteX37" fmla="*/ 85814 w 540843"/>
                    <a:gd name="connsiteY37" fmla="*/ 203246 h 546737"/>
                    <a:gd name="connsiteX38" fmla="*/ 85814 w 540843"/>
                    <a:gd name="connsiteY38" fmla="*/ 247842 h 546737"/>
                    <a:gd name="connsiteX39" fmla="*/ 0 w 540843"/>
                    <a:gd name="connsiteY39" fmla="*/ 247842 h 546737"/>
                    <a:gd name="connsiteX40" fmla="*/ 455029 w 540843"/>
                    <a:gd name="connsiteY40" fmla="*/ 106678 h 546737"/>
                    <a:gd name="connsiteX41" fmla="*/ 540843 w 540843"/>
                    <a:gd name="connsiteY41" fmla="*/ 106678 h 546737"/>
                    <a:gd name="connsiteX42" fmla="*/ 540843 w 540843"/>
                    <a:gd name="connsiteY42" fmla="*/ 151274 h 546737"/>
                    <a:gd name="connsiteX43" fmla="*/ 455029 w 540843"/>
                    <a:gd name="connsiteY43" fmla="*/ 151274 h 546737"/>
                    <a:gd name="connsiteX44" fmla="*/ 0 w 540843"/>
                    <a:gd name="connsiteY44" fmla="*/ 106678 h 546737"/>
                    <a:gd name="connsiteX45" fmla="*/ 85814 w 540843"/>
                    <a:gd name="connsiteY45" fmla="*/ 106678 h 546737"/>
                    <a:gd name="connsiteX46" fmla="*/ 85814 w 540843"/>
                    <a:gd name="connsiteY46" fmla="*/ 151274 h 546737"/>
                    <a:gd name="connsiteX47" fmla="*/ 0 w 540843"/>
                    <a:gd name="connsiteY47" fmla="*/ 151274 h 546737"/>
                    <a:gd name="connsiteX48" fmla="*/ 396381 w 540843"/>
                    <a:gd name="connsiteY48" fmla="*/ 0 h 546737"/>
                    <a:gd name="connsiteX49" fmla="*/ 440977 w 540843"/>
                    <a:gd name="connsiteY49" fmla="*/ 0 h 546737"/>
                    <a:gd name="connsiteX50" fmla="*/ 440977 w 540843"/>
                    <a:gd name="connsiteY50" fmla="*/ 85814 h 546737"/>
                    <a:gd name="connsiteX51" fmla="*/ 396381 w 540843"/>
                    <a:gd name="connsiteY51" fmla="*/ 85814 h 546737"/>
                    <a:gd name="connsiteX52" fmla="*/ 299814 w 540843"/>
                    <a:gd name="connsiteY52" fmla="*/ 0 h 546737"/>
                    <a:gd name="connsiteX53" fmla="*/ 344410 w 540843"/>
                    <a:gd name="connsiteY53" fmla="*/ 0 h 546737"/>
                    <a:gd name="connsiteX54" fmla="*/ 344410 w 540843"/>
                    <a:gd name="connsiteY54" fmla="*/ 85814 h 546737"/>
                    <a:gd name="connsiteX55" fmla="*/ 299814 w 540843"/>
                    <a:gd name="connsiteY55" fmla="*/ 85814 h 546737"/>
                    <a:gd name="connsiteX56" fmla="*/ 203246 w 540843"/>
                    <a:gd name="connsiteY56" fmla="*/ 0 h 546737"/>
                    <a:gd name="connsiteX57" fmla="*/ 247842 w 540843"/>
                    <a:gd name="connsiteY57" fmla="*/ 0 h 546737"/>
                    <a:gd name="connsiteX58" fmla="*/ 247842 w 540843"/>
                    <a:gd name="connsiteY58" fmla="*/ 85814 h 546737"/>
                    <a:gd name="connsiteX59" fmla="*/ 203246 w 540843"/>
                    <a:gd name="connsiteY59" fmla="*/ 85814 h 546737"/>
                    <a:gd name="connsiteX60" fmla="*/ 106678 w 540843"/>
                    <a:gd name="connsiteY60" fmla="*/ 0 h 546737"/>
                    <a:gd name="connsiteX61" fmla="*/ 151274 w 540843"/>
                    <a:gd name="connsiteY61" fmla="*/ 0 h 546737"/>
                    <a:gd name="connsiteX62" fmla="*/ 151274 w 540843"/>
                    <a:gd name="connsiteY62" fmla="*/ 85814 h 546737"/>
                    <a:gd name="connsiteX63" fmla="*/ 106678 w 540843"/>
                    <a:gd name="connsiteY63" fmla="*/ 85814 h 54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40843" h="546737">
                      <a:moveTo>
                        <a:pt x="393138" y="460923"/>
                      </a:moveTo>
                      <a:lnTo>
                        <a:pt x="437734" y="460923"/>
                      </a:lnTo>
                      <a:lnTo>
                        <a:pt x="437734" y="546737"/>
                      </a:lnTo>
                      <a:lnTo>
                        <a:pt x="393138" y="546737"/>
                      </a:lnTo>
                      <a:close/>
                      <a:moveTo>
                        <a:pt x="296570" y="460923"/>
                      </a:moveTo>
                      <a:lnTo>
                        <a:pt x="341166" y="460923"/>
                      </a:lnTo>
                      <a:lnTo>
                        <a:pt x="341166" y="546737"/>
                      </a:lnTo>
                      <a:lnTo>
                        <a:pt x="296570" y="546737"/>
                      </a:lnTo>
                      <a:close/>
                      <a:moveTo>
                        <a:pt x="200002" y="460923"/>
                      </a:moveTo>
                      <a:lnTo>
                        <a:pt x="244598" y="460923"/>
                      </a:lnTo>
                      <a:lnTo>
                        <a:pt x="244598" y="546737"/>
                      </a:lnTo>
                      <a:lnTo>
                        <a:pt x="200002" y="546737"/>
                      </a:lnTo>
                      <a:close/>
                      <a:moveTo>
                        <a:pt x="103434" y="460923"/>
                      </a:moveTo>
                      <a:lnTo>
                        <a:pt x="148030" y="460923"/>
                      </a:lnTo>
                      <a:lnTo>
                        <a:pt x="148030" y="546737"/>
                      </a:lnTo>
                      <a:lnTo>
                        <a:pt x="103434" y="546737"/>
                      </a:lnTo>
                      <a:close/>
                      <a:moveTo>
                        <a:pt x="455029" y="396381"/>
                      </a:moveTo>
                      <a:lnTo>
                        <a:pt x="540843" y="396381"/>
                      </a:lnTo>
                      <a:lnTo>
                        <a:pt x="540843" y="440977"/>
                      </a:lnTo>
                      <a:lnTo>
                        <a:pt x="455029" y="440977"/>
                      </a:lnTo>
                      <a:close/>
                      <a:moveTo>
                        <a:pt x="0" y="396381"/>
                      </a:moveTo>
                      <a:lnTo>
                        <a:pt x="85814" y="396381"/>
                      </a:lnTo>
                      <a:lnTo>
                        <a:pt x="85814" y="440977"/>
                      </a:lnTo>
                      <a:lnTo>
                        <a:pt x="0" y="440977"/>
                      </a:lnTo>
                      <a:close/>
                      <a:moveTo>
                        <a:pt x="455029" y="299813"/>
                      </a:moveTo>
                      <a:lnTo>
                        <a:pt x="540843" y="299813"/>
                      </a:lnTo>
                      <a:lnTo>
                        <a:pt x="540843" y="344409"/>
                      </a:lnTo>
                      <a:lnTo>
                        <a:pt x="455029" y="344409"/>
                      </a:lnTo>
                      <a:close/>
                      <a:moveTo>
                        <a:pt x="0" y="299813"/>
                      </a:moveTo>
                      <a:lnTo>
                        <a:pt x="85814" y="299813"/>
                      </a:lnTo>
                      <a:lnTo>
                        <a:pt x="85814" y="344409"/>
                      </a:lnTo>
                      <a:lnTo>
                        <a:pt x="0" y="344409"/>
                      </a:lnTo>
                      <a:close/>
                      <a:moveTo>
                        <a:pt x="455029" y="203246"/>
                      </a:moveTo>
                      <a:lnTo>
                        <a:pt x="540843" y="203246"/>
                      </a:lnTo>
                      <a:lnTo>
                        <a:pt x="540843" y="247842"/>
                      </a:lnTo>
                      <a:lnTo>
                        <a:pt x="455029" y="247842"/>
                      </a:lnTo>
                      <a:close/>
                      <a:moveTo>
                        <a:pt x="0" y="203246"/>
                      </a:moveTo>
                      <a:lnTo>
                        <a:pt x="85814" y="203246"/>
                      </a:lnTo>
                      <a:lnTo>
                        <a:pt x="85814" y="247842"/>
                      </a:lnTo>
                      <a:lnTo>
                        <a:pt x="0" y="247842"/>
                      </a:lnTo>
                      <a:close/>
                      <a:moveTo>
                        <a:pt x="455029" y="106678"/>
                      </a:moveTo>
                      <a:lnTo>
                        <a:pt x="540843" y="106678"/>
                      </a:lnTo>
                      <a:lnTo>
                        <a:pt x="540843" y="151274"/>
                      </a:lnTo>
                      <a:lnTo>
                        <a:pt x="455029" y="151274"/>
                      </a:lnTo>
                      <a:close/>
                      <a:moveTo>
                        <a:pt x="0" y="106678"/>
                      </a:moveTo>
                      <a:lnTo>
                        <a:pt x="85814" y="106678"/>
                      </a:lnTo>
                      <a:lnTo>
                        <a:pt x="85814" y="151274"/>
                      </a:lnTo>
                      <a:lnTo>
                        <a:pt x="0" y="151274"/>
                      </a:lnTo>
                      <a:close/>
                      <a:moveTo>
                        <a:pt x="396381" y="0"/>
                      </a:moveTo>
                      <a:lnTo>
                        <a:pt x="440977" y="0"/>
                      </a:lnTo>
                      <a:lnTo>
                        <a:pt x="440977" y="85814"/>
                      </a:lnTo>
                      <a:lnTo>
                        <a:pt x="396381" y="85814"/>
                      </a:lnTo>
                      <a:close/>
                      <a:moveTo>
                        <a:pt x="299814" y="0"/>
                      </a:moveTo>
                      <a:lnTo>
                        <a:pt x="344410" y="0"/>
                      </a:lnTo>
                      <a:lnTo>
                        <a:pt x="344410" y="85814"/>
                      </a:lnTo>
                      <a:lnTo>
                        <a:pt x="299814" y="85814"/>
                      </a:lnTo>
                      <a:close/>
                      <a:moveTo>
                        <a:pt x="203246" y="0"/>
                      </a:moveTo>
                      <a:lnTo>
                        <a:pt x="247842" y="0"/>
                      </a:lnTo>
                      <a:lnTo>
                        <a:pt x="247842" y="85814"/>
                      </a:lnTo>
                      <a:lnTo>
                        <a:pt x="203246" y="85814"/>
                      </a:lnTo>
                      <a:close/>
                      <a:moveTo>
                        <a:pt x="106678" y="0"/>
                      </a:moveTo>
                      <a:lnTo>
                        <a:pt x="151274" y="0"/>
                      </a:lnTo>
                      <a:lnTo>
                        <a:pt x="151274" y="85814"/>
                      </a:lnTo>
                      <a:lnTo>
                        <a:pt x="106678" y="85814"/>
                      </a:lnTo>
                      <a:close/>
                    </a:path>
                  </a:pathLst>
                </a:custGeom>
                <a:solidFill>
                  <a:srgbClr val="D1FF95"/>
                </a:solidFill>
                <a:ln cap="sq">
                  <a:noFill/>
                  <a:prstDash val="solid"/>
                  <a:miter/>
                </a:ln>
              </p:spPr>
              <p:txBody>
                <a:bodyPr wrap="square">
                  <a:noAutofit/>
                </a:bodyPr>
                <a:lstStyle/>
                <a:p>
                  <a:endParaRPr lang="en-US" dirty="0"/>
                </a:p>
              </p:txBody>
            </p:sp>
            <p:sp>
              <p:nvSpPr>
                <p:cNvPr id="23" name="Freeform 4">
                  <a:extLst>
                    <a:ext uri="{FF2B5EF4-FFF2-40B4-BE49-F238E27FC236}">
                      <a16:creationId xmlns:a16="http://schemas.microsoft.com/office/drawing/2014/main" id="{5039FAFE-A846-1763-1B9E-9995D6572F4E}"/>
                    </a:ext>
                  </a:extLst>
                </p:cNvPr>
                <p:cNvSpPr/>
                <p:nvPr/>
              </p:nvSpPr>
              <p:spPr>
                <a:xfrm>
                  <a:off x="756000" y="3836573"/>
                  <a:ext cx="547655" cy="547655"/>
                </a:xfrm>
                <a:custGeom>
                  <a:avLst/>
                  <a:gdLst/>
                  <a:ahLst/>
                  <a:cxnLst/>
                  <a:rect l="l" t="t" r="r" b="b"/>
                  <a:pathLst>
                    <a:path w="547655" h="547655">
                      <a:moveTo>
                        <a:pt x="0" y="0"/>
                      </a:moveTo>
                      <a:lnTo>
                        <a:pt x="547655" y="0"/>
                      </a:lnTo>
                      <a:lnTo>
                        <a:pt x="547655" y="547655"/>
                      </a:lnTo>
                      <a:lnTo>
                        <a:pt x="0" y="547655"/>
                      </a:lnTo>
                      <a:lnTo>
                        <a:pt x="0" y="0"/>
                      </a:lnTo>
                      <a:close/>
                    </a:path>
                  </a:pathLst>
                </a:custGeom>
                <a:blipFill>
                  <a:blip r:embed="rId13">
                    <a:extLst>
                      <a:ext uri="{96DAC541-7B7A-43D3-8B79-37D633B846F1}">
                        <asvg:svgBlip xmlns:asvg="http://schemas.microsoft.com/office/drawing/2016/SVG/main" r:embed="rId14"/>
                      </a:ext>
                    </a:extLst>
                  </a:blip>
                  <a:stretch>
                    <a:fillRect/>
                  </a:stretch>
                </a:blipFill>
                <a:ln cap="sq">
                  <a:noFill/>
                  <a:prstDash val="solid"/>
                  <a:miter/>
                </a:ln>
              </p:spPr>
              <p:txBody>
                <a:bodyPr/>
                <a:lstStyle/>
                <a:p>
                  <a:endParaRPr lang="en-US" dirty="0"/>
                </a:p>
              </p:txBody>
            </p:sp>
          </p:grpSp>
        </p:grpSp>
        <p:sp>
          <p:nvSpPr>
            <p:cNvPr id="81" name="TextBox 81"/>
            <p:cNvSpPr txBox="1"/>
            <p:nvPr/>
          </p:nvSpPr>
          <p:spPr>
            <a:xfrm>
              <a:off x="756000" y="1658751"/>
              <a:ext cx="6048000" cy="544075"/>
            </a:xfrm>
            <a:prstGeom prst="rect">
              <a:avLst/>
            </a:prstGeom>
          </p:spPr>
          <p:txBody>
            <a:bodyPr lIns="0" tIns="0" rIns="0" bIns="0" rtlCol="0" anchor="t">
              <a:spAutoFit/>
            </a:bodyPr>
            <a:lstStyle/>
            <a:p>
              <a:pPr marL="0" lvl="0" indent="0" algn="l">
                <a:lnSpc>
                  <a:spcPts val="4227"/>
                </a:lnSpc>
                <a:spcBef>
                  <a:spcPct val="0"/>
                </a:spcBef>
              </a:pPr>
              <a:r>
                <a:rPr lang="en-US" sz="3850" b="1" dirty="0">
                  <a:solidFill>
                    <a:srgbClr val="FFFFFF"/>
                  </a:solidFill>
                  <a:latin typeface="Red Hat Display" panose="02010303040201060303" pitchFamily="2" charset="0"/>
                </a:rPr>
                <a:t>Tech Mastery Basics</a:t>
              </a:r>
            </a:p>
          </p:txBody>
        </p:sp>
        <p:grpSp>
          <p:nvGrpSpPr>
            <p:cNvPr id="8" name="Group 7">
              <a:extLst>
                <a:ext uri="{FF2B5EF4-FFF2-40B4-BE49-F238E27FC236}">
                  <a16:creationId xmlns:a16="http://schemas.microsoft.com/office/drawing/2014/main" id="{6ECA7BB7-B661-A9CA-48A9-E9D289E262BC}"/>
                </a:ext>
              </a:extLst>
            </p:cNvPr>
            <p:cNvGrpSpPr/>
            <p:nvPr/>
          </p:nvGrpSpPr>
          <p:grpSpPr>
            <a:xfrm>
              <a:off x="756000" y="756000"/>
              <a:ext cx="6048000" cy="461665"/>
              <a:chOff x="756000" y="756000"/>
              <a:chExt cx="6048000" cy="461665"/>
            </a:xfrm>
          </p:grpSpPr>
          <p:sp>
            <p:nvSpPr>
              <p:cNvPr id="85" name="TextBox 85"/>
              <p:cNvSpPr txBox="1"/>
              <p:nvPr/>
            </p:nvSpPr>
            <p:spPr>
              <a:xfrm>
                <a:off x="4420388" y="797619"/>
                <a:ext cx="2383612" cy="399827"/>
              </a:xfrm>
              <a:prstGeom prst="rect">
                <a:avLst/>
              </a:prstGeom>
            </p:spPr>
            <p:txBody>
              <a:bodyPr lIns="0" tIns="0" rIns="0" bIns="0" rtlCol="0" anchor="t">
                <a:spAutoFit/>
              </a:bodyPr>
              <a:lstStyle/>
              <a:p>
                <a:pPr algn="r">
                  <a:lnSpc>
                    <a:spcPts val="1079"/>
                  </a:lnSpc>
                </a:pPr>
                <a:r>
                  <a:rPr lang="en-US" sz="899" dirty="0">
                    <a:solidFill>
                      <a:srgbClr val="FFFFFF"/>
                    </a:solidFill>
                    <a:latin typeface="Poppins"/>
                  </a:rPr>
                  <a:t>123 Anywhere St., Any City</a:t>
                </a:r>
              </a:p>
              <a:p>
                <a:pPr algn="r">
                  <a:lnSpc>
                    <a:spcPts val="1079"/>
                  </a:lnSpc>
                </a:pPr>
                <a:r>
                  <a:rPr lang="en-US" sz="899" dirty="0">
                    <a:solidFill>
                      <a:srgbClr val="FFFFFF"/>
                    </a:solidFill>
                    <a:latin typeface="Poppins"/>
                  </a:rPr>
                  <a:t>+123-456-7890</a:t>
                </a:r>
              </a:p>
              <a:p>
                <a:pPr algn="r">
                  <a:lnSpc>
                    <a:spcPts val="1079"/>
                  </a:lnSpc>
                </a:pPr>
                <a:r>
                  <a:rPr lang="en-US" sz="899" dirty="0">
                    <a:solidFill>
                      <a:srgbClr val="FFFFFF"/>
                    </a:solidFill>
                    <a:latin typeface="Poppins"/>
                  </a:rPr>
                  <a:t>www.Quirkifystudio.com</a:t>
                </a:r>
              </a:p>
            </p:txBody>
          </p:sp>
          <p:sp>
            <p:nvSpPr>
              <p:cNvPr id="86" name="Freeform 86"/>
              <p:cNvSpPr/>
              <p:nvPr/>
            </p:nvSpPr>
            <p:spPr>
              <a:xfrm>
                <a:off x="756000" y="756000"/>
                <a:ext cx="427680" cy="427680"/>
              </a:xfrm>
              <a:custGeom>
                <a:avLst/>
                <a:gdLst/>
                <a:ahLst/>
                <a:cxnLst/>
                <a:rect l="l" t="t" r="r" b="b"/>
                <a:pathLst>
                  <a:path w="570240" h="570240">
                    <a:moveTo>
                      <a:pt x="0" y="0"/>
                    </a:moveTo>
                    <a:lnTo>
                      <a:pt x="570240" y="0"/>
                    </a:lnTo>
                    <a:lnTo>
                      <a:pt x="570240" y="570240"/>
                    </a:lnTo>
                    <a:lnTo>
                      <a:pt x="0" y="570240"/>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en-US" dirty="0"/>
              </a:p>
            </p:txBody>
          </p:sp>
          <p:sp>
            <p:nvSpPr>
              <p:cNvPr id="87" name="TextBox 87"/>
              <p:cNvSpPr txBox="1"/>
              <p:nvPr/>
            </p:nvSpPr>
            <p:spPr>
              <a:xfrm>
                <a:off x="1346075" y="756000"/>
                <a:ext cx="1191707" cy="461665"/>
              </a:xfrm>
              <a:prstGeom prst="rect">
                <a:avLst/>
              </a:prstGeom>
            </p:spPr>
            <p:txBody>
              <a:bodyPr lIns="0" tIns="0" rIns="0" bIns="0" rtlCol="0" anchor="t">
                <a:spAutoFit/>
              </a:bodyPr>
              <a:lstStyle/>
              <a:p>
                <a:pPr>
                  <a:lnSpc>
                    <a:spcPts val="1817"/>
                  </a:lnSpc>
                </a:pPr>
                <a:r>
                  <a:rPr lang="en-US" sz="1502" b="1" dirty="0">
                    <a:solidFill>
                      <a:srgbClr val="FFFFFF"/>
                    </a:solidFill>
                    <a:latin typeface="Red Hat Display" panose="02010303040201060303" pitchFamily="2" charset="0"/>
                  </a:rPr>
                  <a:t>QUIRKIFY </a:t>
                </a:r>
              </a:p>
              <a:p>
                <a:pPr>
                  <a:lnSpc>
                    <a:spcPts val="1817"/>
                  </a:lnSpc>
                </a:pPr>
                <a:r>
                  <a:rPr lang="en-US" sz="1502" b="1" dirty="0">
                    <a:solidFill>
                      <a:srgbClr val="FFFFFF"/>
                    </a:solidFill>
                    <a:latin typeface="Red Hat Display" panose="02010303040201060303" pitchFamily="2" charset="0"/>
                  </a:rPr>
                  <a:t>STUDIO</a:t>
                </a:r>
              </a:p>
            </p:txBody>
          </p:sp>
        </p:grpSp>
        <p:sp>
          <p:nvSpPr>
            <p:cNvPr id="83" name="TemplateLAB"/>
            <p:cNvSpPr/>
            <p:nvPr/>
          </p:nvSpPr>
          <p:spPr>
            <a:xfrm>
              <a:off x="6071941" y="10042856"/>
              <a:ext cx="732059" cy="120790"/>
            </a:xfrm>
            <a:custGeom>
              <a:avLst/>
              <a:gdLst/>
              <a:ahLst/>
              <a:cxnLst/>
              <a:rect l="l" t="t" r="r" b="b"/>
              <a:pathLst>
                <a:path w="732059" h="120790">
                  <a:moveTo>
                    <a:pt x="0" y="0"/>
                  </a:moveTo>
                  <a:lnTo>
                    <a:pt x="732059" y="0"/>
                  </a:lnTo>
                  <a:lnTo>
                    <a:pt x="732059" y="120790"/>
                  </a:lnTo>
                  <a:lnTo>
                    <a:pt x="0" y="120790"/>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en-US" dirty="0"/>
            </a:p>
          </p:txBody>
        </p:sp>
      </p:grpSp>
    </p:spTree>
    <p:custDataLst>
      <p:tags r:id="rId1"/>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7 - Page 7">
            <a:extLst>
              <a:ext uri="{FF2B5EF4-FFF2-40B4-BE49-F238E27FC236}">
                <a16:creationId xmlns:a16="http://schemas.microsoft.com/office/drawing/2014/main" id="{80456D32-C8AD-6B4E-8125-8EE09466FE98}"/>
              </a:ext>
            </a:extLst>
          </p:cNvPr>
          <p:cNvGrpSpPr/>
          <p:nvPr/>
        </p:nvGrpSpPr>
        <p:grpSpPr>
          <a:xfrm>
            <a:off x="0" y="756000"/>
            <a:ext cx="7556500" cy="9940232"/>
            <a:chOff x="0" y="756000"/>
            <a:chExt cx="7556500" cy="9940232"/>
          </a:xfrm>
        </p:grpSpPr>
        <p:sp>
          <p:nvSpPr>
            <p:cNvPr id="4" name="TextBox 4"/>
            <p:cNvSpPr txBox="1"/>
            <p:nvPr/>
          </p:nvSpPr>
          <p:spPr>
            <a:xfrm>
              <a:off x="5817676" y="10015056"/>
              <a:ext cx="986324" cy="156966"/>
            </a:xfrm>
            <a:prstGeom prst="rect">
              <a:avLst/>
            </a:prstGeom>
          </p:spPr>
          <p:txBody>
            <a:bodyPr lIns="0" tIns="0" rIns="0" bIns="0" rtlCol="0" anchor="t">
              <a:spAutoFit/>
            </a:bodyPr>
            <a:lstStyle/>
            <a:p>
              <a:pPr marL="0" lvl="0" indent="0" algn="r">
                <a:lnSpc>
                  <a:spcPts val="1260"/>
                </a:lnSpc>
                <a:spcBef>
                  <a:spcPct val="0"/>
                </a:spcBef>
              </a:pPr>
              <a:r>
                <a:rPr lang="en-US" sz="900" b="1" dirty="0">
                  <a:solidFill>
                    <a:srgbClr val="121722"/>
                  </a:solidFill>
                  <a:latin typeface="Red Hat Display"/>
                </a:rPr>
                <a:t> I </a:t>
              </a:r>
              <a:r>
                <a:rPr lang="en-US" sz="900" b="1" dirty="0">
                  <a:solidFill>
                    <a:srgbClr val="121722"/>
                  </a:solidFill>
                  <a:latin typeface="Red Hat Display" panose="02010303040201060303" pitchFamily="2" charset="0"/>
                </a:rPr>
                <a:t>PAGE 7</a:t>
              </a:r>
            </a:p>
          </p:txBody>
        </p:sp>
        <p:sp>
          <p:nvSpPr>
            <p:cNvPr id="2" name="AutoShape 2"/>
            <p:cNvSpPr/>
            <p:nvPr/>
          </p:nvSpPr>
          <p:spPr>
            <a:xfrm>
              <a:off x="0" y="4807496"/>
              <a:ext cx="7556500" cy="0"/>
            </a:xfrm>
            <a:prstGeom prst="line">
              <a:avLst/>
            </a:prstGeom>
            <a:ln w="9525" cap="flat">
              <a:solidFill>
                <a:srgbClr val="121722">
                  <a:alpha val="24706"/>
                </a:srgbClr>
              </a:solidFill>
              <a:prstDash val="solid"/>
              <a:headEnd type="none" w="med" len="med"/>
              <a:tailEnd type="none" w="med" len="med"/>
            </a:ln>
          </p:spPr>
          <p:txBody>
            <a:bodyPr>
              <a:normAutofit fontScale="25000" lnSpcReduction="20000"/>
            </a:bodyPr>
            <a:lstStyle/>
            <a:p>
              <a:endParaRPr lang="en-US" dirty="0"/>
            </a:p>
          </p:txBody>
        </p:sp>
        <p:grpSp>
          <p:nvGrpSpPr>
            <p:cNvPr id="49" name="Group 48">
              <a:extLst>
                <a:ext uri="{FF2B5EF4-FFF2-40B4-BE49-F238E27FC236}">
                  <a16:creationId xmlns:a16="http://schemas.microsoft.com/office/drawing/2014/main" id="{3A7EA9FD-BD86-78A0-416B-FFE468FC83B1}"/>
                </a:ext>
              </a:extLst>
            </p:cNvPr>
            <p:cNvGrpSpPr/>
            <p:nvPr/>
          </p:nvGrpSpPr>
          <p:grpSpPr>
            <a:xfrm>
              <a:off x="5081745" y="4168156"/>
              <a:ext cx="2035973" cy="6528075"/>
              <a:chOff x="5081745" y="4168156"/>
              <a:chExt cx="2035973" cy="6528075"/>
            </a:xfrm>
          </p:grpSpPr>
          <p:sp>
            <p:nvSpPr>
              <p:cNvPr id="25" name="AutoShape 25"/>
              <p:cNvSpPr/>
              <p:nvPr/>
            </p:nvSpPr>
            <p:spPr>
              <a:xfrm>
                <a:off x="5146129" y="4807495"/>
                <a:ext cx="0" cy="5888736"/>
              </a:xfrm>
              <a:prstGeom prst="line">
                <a:avLst/>
              </a:prstGeom>
              <a:ln w="9525" cap="flat">
                <a:solidFill>
                  <a:srgbClr val="121722">
                    <a:alpha val="24706"/>
                  </a:srgbClr>
                </a:solidFill>
                <a:prstDash val="solid"/>
                <a:headEnd type="none" w="sm" len="sm"/>
                <a:tailEnd type="none" w="sm" len="sm"/>
              </a:ln>
            </p:spPr>
            <p:txBody>
              <a:bodyPr/>
              <a:lstStyle/>
              <a:p>
                <a:endParaRPr lang="en-US" dirty="0"/>
              </a:p>
            </p:txBody>
          </p:sp>
          <p:sp>
            <p:nvSpPr>
              <p:cNvPr id="33" name="Freeform 33"/>
              <p:cNvSpPr/>
              <p:nvPr/>
            </p:nvSpPr>
            <p:spPr>
              <a:xfrm>
                <a:off x="5081745" y="4740276"/>
                <a:ext cx="128767" cy="128767"/>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C6D70"/>
              </a:solidFill>
              <a:ln cap="sq">
                <a:noFill/>
                <a:prstDash val="solid"/>
                <a:miter/>
              </a:ln>
            </p:spPr>
            <p:txBody>
              <a:bodyPr/>
              <a:lstStyle/>
              <a:p>
                <a:endParaRPr lang="en-US" dirty="0"/>
              </a:p>
            </p:txBody>
          </p:sp>
          <p:grpSp>
            <p:nvGrpSpPr>
              <p:cNvPr id="46" name="Group 45">
                <a:extLst>
                  <a:ext uri="{FF2B5EF4-FFF2-40B4-BE49-F238E27FC236}">
                    <a16:creationId xmlns:a16="http://schemas.microsoft.com/office/drawing/2014/main" id="{16FD5B08-E998-56AC-3C62-89014993AF7D}"/>
                  </a:ext>
                </a:extLst>
              </p:cNvPr>
              <p:cNvGrpSpPr/>
              <p:nvPr/>
            </p:nvGrpSpPr>
            <p:grpSpPr>
              <a:xfrm>
                <a:off x="5145822" y="4168156"/>
                <a:ext cx="1971896" cy="5069246"/>
                <a:chOff x="5145822" y="4168156"/>
                <a:chExt cx="1971896" cy="5069246"/>
              </a:xfrm>
            </p:grpSpPr>
            <p:sp>
              <p:nvSpPr>
                <p:cNvPr id="11" name="TextBox 11"/>
                <p:cNvSpPr txBox="1"/>
                <p:nvPr/>
              </p:nvSpPr>
              <p:spPr>
                <a:xfrm>
                  <a:off x="5409626" y="8111260"/>
                  <a:ext cx="1402603" cy="1126142"/>
                </a:xfrm>
                <a:prstGeom prst="rect">
                  <a:avLst/>
                </a:prstGeom>
              </p:spPr>
              <p:txBody>
                <a:bodyPr lIns="0" tIns="0" rIns="0" bIns="0" rtlCol="0" anchor="t">
                  <a:spAutoFit/>
                </a:bodyPr>
                <a:lstStyle/>
                <a:p>
                  <a:pPr marL="0" lvl="0" indent="0" algn="l">
                    <a:lnSpc>
                      <a:spcPts val="1079"/>
                    </a:lnSpc>
                    <a:spcBef>
                      <a:spcPct val="0"/>
                    </a:spcBef>
                  </a:pPr>
                  <a:r>
                    <a:rPr lang="en-US" sz="899" dirty="0">
                      <a:solidFill>
                        <a:srgbClr val="2B2B2B"/>
                      </a:solidFill>
                      <a:latin typeface="DM Sans" pitchFamily="2" charset="0"/>
                    </a:rPr>
                    <a:t>Wrap up work by planning tomorrow's tasks. List priorities for a head </a:t>
                  </a:r>
                </a:p>
                <a:p>
                  <a:pPr marL="0" lvl="0" indent="0" algn="l">
                    <a:lnSpc>
                      <a:spcPts val="1079"/>
                    </a:lnSpc>
                    <a:spcBef>
                      <a:spcPct val="0"/>
                    </a:spcBef>
                  </a:pPr>
                  <a:r>
                    <a:rPr lang="en-US" sz="899" dirty="0">
                      <a:solidFill>
                        <a:srgbClr val="2B2B2B"/>
                      </a:solidFill>
                      <a:latin typeface="DM Sans" pitchFamily="2" charset="0"/>
                    </a:rPr>
                    <a:t>start. This proactive </a:t>
                  </a:r>
                </a:p>
                <a:p>
                  <a:pPr marL="0" lvl="0" indent="0" algn="l">
                    <a:lnSpc>
                      <a:spcPts val="1079"/>
                    </a:lnSpc>
                    <a:spcBef>
                      <a:spcPct val="0"/>
                    </a:spcBef>
                  </a:pPr>
                  <a:r>
                    <a:rPr lang="en-US" sz="899" dirty="0">
                      <a:solidFill>
                        <a:srgbClr val="2B2B2B"/>
                      </a:solidFill>
                      <a:latin typeface="DM Sans" pitchFamily="2" charset="0"/>
                    </a:rPr>
                    <a:t>step ensures a smooth transition, setting the stage for ongoing efficiency the next day</a:t>
                  </a:r>
                </a:p>
              </p:txBody>
            </p:sp>
            <p:sp>
              <p:nvSpPr>
                <p:cNvPr id="13" name="TextBox 13"/>
                <p:cNvSpPr txBox="1"/>
                <p:nvPr/>
              </p:nvSpPr>
              <p:spPr>
                <a:xfrm>
                  <a:off x="5409626" y="5994674"/>
                  <a:ext cx="1402603" cy="1126142"/>
                </a:xfrm>
                <a:prstGeom prst="rect">
                  <a:avLst/>
                </a:prstGeom>
              </p:spPr>
              <p:txBody>
                <a:bodyPr lIns="0" tIns="0" rIns="0" bIns="0" rtlCol="0" anchor="t">
                  <a:spAutoFit/>
                </a:bodyPr>
                <a:lstStyle/>
                <a:p>
                  <a:pPr>
                    <a:lnSpc>
                      <a:spcPts val="1079"/>
                    </a:lnSpc>
                  </a:pPr>
                  <a:r>
                    <a:rPr lang="en-US" sz="899" dirty="0">
                      <a:solidFill>
                        <a:srgbClr val="2B2B2B"/>
                      </a:solidFill>
                      <a:latin typeface="DM Sans" pitchFamily="2" charset="0"/>
                    </a:rPr>
                    <a:t>Recognize finishing, </a:t>
                  </a:r>
                </a:p>
                <a:p>
                  <a:pPr>
                    <a:lnSpc>
                      <a:spcPts val="1079"/>
                    </a:lnSpc>
                  </a:pPr>
                  <a:r>
                    <a:rPr lang="en-US" sz="899" dirty="0">
                      <a:solidFill>
                        <a:srgbClr val="2B2B2B"/>
                      </a:solidFill>
                      <a:latin typeface="DM Sans" pitchFamily="2" charset="0"/>
                    </a:rPr>
                    <a:t>cheer goals. Think </a:t>
                  </a:r>
                </a:p>
                <a:p>
                  <a:pPr>
                    <a:lnSpc>
                      <a:spcPts val="1079"/>
                    </a:lnSpc>
                  </a:pPr>
                  <a:r>
                    <a:rPr lang="en-US" sz="899" dirty="0">
                      <a:solidFill>
                        <a:srgbClr val="2B2B2B"/>
                      </a:solidFill>
                      <a:latin typeface="DM Sans" pitchFamily="2" charset="0"/>
                    </a:rPr>
                    <a:t>about successes for higher spirits and increased productivity. Use this good energy </a:t>
                  </a:r>
                </a:p>
                <a:p>
                  <a:pPr marL="0" lvl="0" indent="0" algn="l">
                    <a:lnSpc>
                      <a:spcPts val="1079"/>
                    </a:lnSpc>
                    <a:spcBef>
                      <a:spcPct val="0"/>
                    </a:spcBef>
                  </a:pPr>
                  <a:r>
                    <a:rPr lang="en-US" sz="899" dirty="0">
                      <a:solidFill>
                        <a:srgbClr val="2B2B2B"/>
                      </a:solidFill>
                      <a:latin typeface="DM Sans" pitchFamily="2" charset="0"/>
                    </a:rPr>
                    <a:t>as motivation for what comes next</a:t>
                  </a:r>
                </a:p>
              </p:txBody>
            </p:sp>
            <p:sp>
              <p:nvSpPr>
                <p:cNvPr id="20" name="TextBox 20"/>
                <p:cNvSpPr txBox="1"/>
                <p:nvPr/>
              </p:nvSpPr>
              <p:spPr>
                <a:xfrm>
                  <a:off x="5409626" y="5777111"/>
                  <a:ext cx="1708092" cy="166712"/>
                </a:xfrm>
                <a:prstGeom prst="rect">
                  <a:avLst/>
                </a:prstGeom>
              </p:spPr>
              <p:txBody>
                <a:bodyPr lIns="0" tIns="0" rIns="0" bIns="0" rtlCol="0" anchor="t">
                  <a:spAutoFit/>
                </a:bodyPr>
                <a:lstStyle/>
                <a:p>
                  <a:pPr marL="0" lvl="0" indent="0" algn="l">
                    <a:lnSpc>
                      <a:spcPts val="1254"/>
                    </a:lnSpc>
                    <a:spcBef>
                      <a:spcPct val="0"/>
                    </a:spcBef>
                  </a:pPr>
                  <a:r>
                    <a:rPr lang="en-US" sz="1100" b="1" dirty="0">
                      <a:solidFill>
                        <a:srgbClr val="121722"/>
                      </a:solidFill>
                      <a:latin typeface="Red Hat Display" panose="02010303040201060303" pitchFamily="2" charset="0"/>
                    </a:rPr>
                    <a:t>Review achievements</a:t>
                  </a:r>
                </a:p>
              </p:txBody>
            </p:sp>
            <p:sp>
              <p:nvSpPr>
                <p:cNvPr id="21" name="TextBox 21"/>
                <p:cNvSpPr txBox="1"/>
                <p:nvPr/>
              </p:nvSpPr>
              <p:spPr>
                <a:xfrm>
                  <a:off x="5409626" y="5441584"/>
                  <a:ext cx="1290114" cy="269369"/>
                </a:xfrm>
                <a:prstGeom prst="rect">
                  <a:avLst/>
                </a:prstGeom>
              </p:spPr>
              <p:txBody>
                <a:bodyPr lIns="0" tIns="0" rIns="0" bIns="0" rtlCol="0" anchor="t">
                  <a:spAutoFit/>
                </a:bodyPr>
                <a:lstStyle/>
                <a:p>
                  <a:pPr marL="0" lvl="0" indent="0" algn="l">
                    <a:lnSpc>
                      <a:spcPts val="2089"/>
                    </a:lnSpc>
                    <a:spcBef>
                      <a:spcPct val="0"/>
                    </a:spcBef>
                  </a:pPr>
                  <a:r>
                    <a:rPr lang="en-US" sz="1899" b="1" dirty="0">
                      <a:solidFill>
                        <a:srgbClr val="121722"/>
                      </a:solidFill>
                      <a:latin typeface="Red Hat Display" panose="02010303040201060303" pitchFamily="2" charset="0"/>
                    </a:rPr>
                    <a:t>05</a:t>
                  </a:r>
                </a:p>
              </p:txBody>
            </p:sp>
            <p:sp>
              <p:nvSpPr>
                <p:cNvPr id="22" name="TextBox 22"/>
                <p:cNvSpPr txBox="1"/>
                <p:nvPr/>
              </p:nvSpPr>
              <p:spPr>
                <a:xfrm>
                  <a:off x="5409626" y="7893805"/>
                  <a:ext cx="1627912" cy="166712"/>
                </a:xfrm>
                <a:prstGeom prst="rect">
                  <a:avLst/>
                </a:prstGeom>
              </p:spPr>
              <p:txBody>
                <a:bodyPr lIns="0" tIns="0" rIns="0" bIns="0" rtlCol="0" anchor="t">
                  <a:spAutoFit/>
                </a:bodyPr>
                <a:lstStyle/>
                <a:p>
                  <a:pPr marL="0" lvl="0" indent="0" algn="l">
                    <a:lnSpc>
                      <a:spcPts val="1254"/>
                    </a:lnSpc>
                    <a:spcBef>
                      <a:spcPct val="0"/>
                    </a:spcBef>
                  </a:pPr>
                  <a:r>
                    <a:rPr lang="en-US" sz="1100" b="1" dirty="0">
                      <a:solidFill>
                        <a:srgbClr val="121722"/>
                      </a:solidFill>
                      <a:latin typeface="Red Hat Display" panose="02010303040201060303" pitchFamily="2" charset="0"/>
                    </a:rPr>
                    <a:t>Prepare for Tomorrow</a:t>
                  </a:r>
                </a:p>
              </p:txBody>
            </p:sp>
            <p:sp>
              <p:nvSpPr>
                <p:cNvPr id="23" name="TextBox 23"/>
                <p:cNvSpPr txBox="1"/>
                <p:nvPr/>
              </p:nvSpPr>
              <p:spPr>
                <a:xfrm>
                  <a:off x="5409626" y="7558203"/>
                  <a:ext cx="1290114" cy="269369"/>
                </a:xfrm>
                <a:prstGeom prst="rect">
                  <a:avLst/>
                </a:prstGeom>
              </p:spPr>
              <p:txBody>
                <a:bodyPr lIns="0" tIns="0" rIns="0" bIns="0" rtlCol="0" anchor="t">
                  <a:spAutoFit/>
                </a:bodyPr>
                <a:lstStyle/>
                <a:p>
                  <a:pPr marL="0" lvl="0" indent="0" algn="l">
                    <a:lnSpc>
                      <a:spcPts val="2089"/>
                    </a:lnSpc>
                    <a:spcBef>
                      <a:spcPct val="0"/>
                    </a:spcBef>
                  </a:pPr>
                  <a:r>
                    <a:rPr lang="en-US" sz="1899" b="1" dirty="0">
                      <a:solidFill>
                        <a:srgbClr val="121722"/>
                      </a:solidFill>
                      <a:latin typeface="Red Hat Display" panose="02010303040201060303" pitchFamily="2" charset="0"/>
                    </a:rPr>
                    <a:t>06</a:t>
                  </a:r>
                </a:p>
              </p:txBody>
            </p:sp>
            <p:sp>
              <p:nvSpPr>
                <p:cNvPr id="37" name="TextBox 37"/>
                <p:cNvSpPr txBox="1"/>
                <p:nvPr/>
              </p:nvSpPr>
              <p:spPr>
                <a:xfrm>
                  <a:off x="5145822" y="4168156"/>
                  <a:ext cx="1290114" cy="423770"/>
                </a:xfrm>
                <a:prstGeom prst="rect">
                  <a:avLst/>
                </a:prstGeom>
              </p:spPr>
              <p:txBody>
                <a:bodyPr lIns="0" tIns="0" rIns="0" bIns="0" rtlCol="0" anchor="t">
                  <a:spAutoFit/>
                </a:bodyPr>
                <a:lstStyle/>
                <a:p>
                  <a:pPr marL="0" lvl="0" indent="0" algn="l">
                    <a:lnSpc>
                      <a:spcPts val="3299"/>
                    </a:lnSpc>
                    <a:spcBef>
                      <a:spcPct val="0"/>
                    </a:spcBef>
                  </a:pPr>
                  <a:r>
                    <a:rPr lang="en-US" sz="2999" b="1" u="none" strike="noStrike" dirty="0">
                      <a:solidFill>
                        <a:srgbClr val="121722"/>
                      </a:solidFill>
                      <a:latin typeface="Red Hat Display" panose="02010303040201060303" pitchFamily="2" charset="0"/>
                    </a:rPr>
                    <a:t>End</a:t>
                  </a:r>
                </a:p>
              </p:txBody>
            </p:sp>
          </p:grpSp>
        </p:grpSp>
        <p:grpSp>
          <p:nvGrpSpPr>
            <p:cNvPr id="50" name="Group 49">
              <a:extLst>
                <a:ext uri="{FF2B5EF4-FFF2-40B4-BE49-F238E27FC236}">
                  <a16:creationId xmlns:a16="http://schemas.microsoft.com/office/drawing/2014/main" id="{9A0BD256-A7D1-9525-B9F5-5A514AA2DACF}"/>
                </a:ext>
              </a:extLst>
            </p:cNvPr>
            <p:cNvGrpSpPr/>
            <p:nvPr/>
          </p:nvGrpSpPr>
          <p:grpSpPr>
            <a:xfrm>
              <a:off x="2778291" y="4152958"/>
              <a:ext cx="2105901" cy="6543274"/>
              <a:chOff x="2778291" y="4152958"/>
              <a:chExt cx="2105901" cy="6543274"/>
            </a:xfrm>
          </p:grpSpPr>
          <p:sp>
            <p:nvSpPr>
              <p:cNvPr id="16" name="TextBox 16"/>
              <p:cNvSpPr txBox="1"/>
              <p:nvPr/>
            </p:nvSpPr>
            <p:spPr>
              <a:xfrm>
                <a:off x="3106172" y="5777111"/>
                <a:ext cx="1778020" cy="166712"/>
              </a:xfrm>
              <a:prstGeom prst="rect">
                <a:avLst/>
              </a:prstGeom>
            </p:spPr>
            <p:txBody>
              <a:bodyPr lIns="0" tIns="0" rIns="0" bIns="0" rtlCol="0" anchor="t">
                <a:spAutoFit/>
              </a:bodyPr>
              <a:lstStyle/>
              <a:p>
                <a:pPr marL="0" lvl="0" indent="0" algn="l">
                  <a:lnSpc>
                    <a:spcPts val="1254"/>
                  </a:lnSpc>
                  <a:spcBef>
                    <a:spcPct val="0"/>
                  </a:spcBef>
                </a:pPr>
                <a:r>
                  <a:rPr lang="en-US" sz="1100" b="1" dirty="0">
                    <a:solidFill>
                      <a:srgbClr val="121722"/>
                    </a:solidFill>
                    <a:latin typeface="Red Hat Display" panose="02010303040201060303" pitchFamily="2" charset="0"/>
                  </a:rPr>
                  <a:t>Prioritize Essential Tasks</a:t>
                </a:r>
              </a:p>
            </p:txBody>
          </p:sp>
          <p:sp>
            <p:nvSpPr>
              <p:cNvPr id="24" name="AutoShape 24"/>
              <p:cNvSpPr/>
              <p:nvPr/>
            </p:nvSpPr>
            <p:spPr>
              <a:xfrm flipH="1">
                <a:off x="2842675" y="4807496"/>
                <a:ext cx="0" cy="5888736"/>
              </a:xfrm>
              <a:prstGeom prst="line">
                <a:avLst/>
              </a:prstGeom>
              <a:ln w="9525" cap="flat">
                <a:solidFill>
                  <a:srgbClr val="121722">
                    <a:alpha val="24706"/>
                  </a:srgbClr>
                </a:solidFill>
                <a:prstDash val="solid"/>
                <a:headEnd type="none" w="sm" len="sm"/>
                <a:tailEnd type="none" w="sm" len="sm"/>
              </a:ln>
            </p:spPr>
            <p:txBody>
              <a:bodyPr/>
              <a:lstStyle/>
              <a:p>
                <a:endParaRPr lang="en-US" dirty="0"/>
              </a:p>
            </p:txBody>
          </p:sp>
          <p:sp>
            <p:nvSpPr>
              <p:cNvPr id="30" name="Freeform 30"/>
              <p:cNvSpPr/>
              <p:nvPr/>
            </p:nvSpPr>
            <p:spPr>
              <a:xfrm>
                <a:off x="2778291" y="4745949"/>
                <a:ext cx="128767" cy="128767"/>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C6D70"/>
              </a:solidFill>
              <a:ln cap="sq">
                <a:noFill/>
                <a:prstDash val="solid"/>
                <a:miter/>
              </a:ln>
            </p:spPr>
            <p:txBody>
              <a:bodyPr/>
              <a:lstStyle/>
              <a:p>
                <a:endParaRPr lang="en-US" dirty="0"/>
              </a:p>
            </p:txBody>
          </p:sp>
          <p:sp>
            <p:nvSpPr>
              <p:cNvPr id="10" name="TextBox 10"/>
              <p:cNvSpPr txBox="1"/>
              <p:nvPr/>
            </p:nvSpPr>
            <p:spPr>
              <a:xfrm>
                <a:off x="3106172" y="8111260"/>
                <a:ext cx="1402603" cy="1126142"/>
              </a:xfrm>
              <a:prstGeom prst="rect">
                <a:avLst/>
              </a:prstGeom>
            </p:spPr>
            <p:txBody>
              <a:bodyPr lIns="0" tIns="0" rIns="0" bIns="0" rtlCol="0" anchor="t">
                <a:spAutoFit/>
              </a:bodyPr>
              <a:lstStyle/>
              <a:p>
                <a:pPr marL="0" lvl="0" indent="0" algn="l">
                  <a:lnSpc>
                    <a:spcPts val="1079"/>
                  </a:lnSpc>
                  <a:spcBef>
                    <a:spcPct val="0"/>
                  </a:spcBef>
                </a:pPr>
                <a:r>
                  <a:rPr lang="en-US" sz="899" dirty="0">
                    <a:solidFill>
                      <a:srgbClr val="2B2B2B"/>
                    </a:solidFill>
                    <a:latin typeface="DM Sans" pitchFamily="2" charset="0"/>
                  </a:rPr>
                  <a:t>Embracing time blocking involves scheduling specific blocks of time for focused tasks, optimizing productivity by allocating dedicated periods for targeted activities and minimizing distractions</a:t>
                </a:r>
              </a:p>
            </p:txBody>
          </p:sp>
          <p:sp>
            <p:nvSpPr>
              <p:cNvPr id="12" name="TextBox 12"/>
              <p:cNvSpPr txBox="1"/>
              <p:nvPr/>
            </p:nvSpPr>
            <p:spPr>
              <a:xfrm>
                <a:off x="3106172" y="5994674"/>
                <a:ext cx="1473088" cy="1126142"/>
              </a:xfrm>
              <a:prstGeom prst="rect">
                <a:avLst/>
              </a:prstGeom>
            </p:spPr>
            <p:txBody>
              <a:bodyPr lIns="0" tIns="0" rIns="0" bIns="0" rtlCol="0" anchor="t">
                <a:spAutoFit/>
              </a:bodyPr>
              <a:lstStyle/>
              <a:p>
                <a:pPr>
                  <a:lnSpc>
                    <a:spcPts val="1079"/>
                  </a:lnSpc>
                </a:pPr>
                <a:r>
                  <a:rPr lang="en-US" sz="899" dirty="0">
                    <a:solidFill>
                      <a:srgbClr val="2B2B2B"/>
                    </a:solidFill>
                    <a:latin typeface="DM Sans" pitchFamily="2" charset="0"/>
                  </a:rPr>
                  <a:t>Recognize crucial tasks, prioritize them, and </a:t>
                </a:r>
              </a:p>
              <a:p>
                <a:pPr marL="0" lvl="0" indent="0" algn="l">
                  <a:lnSpc>
                    <a:spcPts val="1079"/>
                  </a:lnSpc>
                  <a:spcBef>
                    <a:spcPct val="0"/>
                  </a:spcBef>
                </a:pPr>
                <a:r>
                  <a:rPr lang="en-US" sz="899" dirty="0">
                    <a:solidFill>
                      <a:srgbClr val="2B2B2B"/>
                    </a:solidFill>
                    <a:latin typeface="DM Sans" pitchFamily="2" charset="0"/>
                  </a:rPr>
                  <a:t>invest time and energy wisely. Addressing key responsibilities early boosts productivity and establishes a positive tone for the rest of your work</a:t>
                </a:r>
              </a:p>
            </p:txBody>
          </p:sp>
          <p:sp>
            <p:nvSpPr>
              <p:cNvPr id="17" name="TextBox 17"/>
              <p:cNvSpPr txBox="1"/>
              <p:nvPr/>
            </p:nvSpPr>
            <p:spPr>
              <a:xfrm>
                <a:off x="3106172" y="5441584"/>
                <a:ext cx="1290114" cy="269369"/>
              </a:xfrm>
              <a:prstGeom prst="rect">
                <a:avLst/>
              </a:prstGeom>
            </p:spPr>
            <p:txBody>
              <a:bodyPr lIns="0" tIns="0" rIns="0" bIns="0" rtlCol="0" anchor="t">
                <a:spAutoFit/>
              </a:bodyPr>
              <a:lstStyle/>
              <a:p>
                <a:pPr marL="0" lvl="0" indent="0" algn="l">
                  <a:lnSpc>
                    <a:spcPts val="2089"/>
                  </a:lnSpc>
                  <a:spcBef>
                    <a:spcPct val="0"/>
                  </a:spcBef>
                </a:pPr>
                <a:r>
                  <a:rPr lang="en-US" sz="1899" b="1" dirty="0">
                    <a:solidFill>
                      <a:srgbClr val="121722"/>
                    </a:solidFill>
                    <a:latin typeface="Red Hat Display" panose="02010303040201060303" pitchFamily="2" charset="0"/>
                  </a:rPr>
                  <a:t>03</a:t>
                </a:r>
              </a:p>
            </p:txBody>
          </p:sp>
          <p:sp>
            <p:nvSpPr>
              <p:cNvPr id="18" name="TextBox 18"/>
              <p:cNvSpPr txBox="1"/>
              <p:nvPr/>
            </p:nvSpPr>
            <p:spPr>
              <a:xfrm>
                <a:off x="3106172" y="7893805"/>
                <a:ext cx="1627912" cy="166712"/>
              </a:xfrm>
              <a:prstGeom prst="rect">
                <a:avLst/>
              </a:prstGeom>
            </p:spPr>
            <p:txBody>
              <a:bodyPr lIns="0" tIns="0" rIns="0" bIns="0" rtlCol="0" anchor="t">
                <a:spAutoFit/>
              </a:bodyPr>
              <a:lstStyle/>
              <a:p>
                <a:pPr marL="0" lvl="0" indent="0" algn="l">
                  <a:lnSpc>
                    <a:spcPts val="1254"/>
                  </a:lnSpc>
                  <a:spcBef>
                    <a:spcPct val="0"/>
                  </a:spcBef>
                </a:pPr>
                <a:r>
                  <a:rPr lang="en-US" sz="1100" b="1" dirty="0">
                    <a:solidFill>
                      <a:srgbClr val="121722"/>
                    </a:solidFill>
                    <a:latin typeface="Red Hat Display" panose="02010303040201060303" pitchFamily="2" charset="0"/>
                  </a:rPr>
                  <a:t>Embrace Time Blocking</a:t>
                </a:r>
              </a:p>
            </p:txBody>
          </p:sp>
          <p:sp>
            <p:nvSpPr>
              <p:cNvPr id="19" name="TextBox 19"/>
              <p:cNvSpPr txBox="1"/>
              <p:nvPr/>
            </p:nvSpPr>
            <p:spPr>
              <a:xfrm>
                <a:off x="3106172" y="7558203"/>
                <a:ext cx="1290114" cy="269369"/>
              </a:xfrm>
              <a:prstGeom prst="rect">
                <a:avLst/>
              </a:prstGeom>
            </p:spPr>
            <p:txBody>
              <a:bodyPr lIns="0" tIns="0" rIns="0" bIns="0" rtlCol="0" anchor="t">
                <a:spAutoFit/>
              </a:bodyPr>
              <a:lstStyle/>
              <a:p>
                <a:pPr marL="0" lvl="0" indent="0" algn="l">
                  <a:lnSpc>
                    <a:spcPts val="2089"/>
                  </a:lnSpc>
                  <a:spcBef>
                    <a:spcPct val="0"/>
                  </a:spcBef>
                </a:pPr>
                <a:r>
                  <a:rPr lang="en-US" sz="1899" b="1" dirty="0">
                    <a:solidFill>
                      <a:srgbClr val="121722"/>
                    </a:solidFill>
                    <a:latin typeface="Red Hat Display" panose="02010303040201060303" pitchFamily="2" charset="0"/>
                  </a:rPr>
                  <a:t>04</a:t>
                </a:r>
              </a:p>
            </p:txBody>
          </p:sp>
          <p:sp>
            <p:nvSpPr>
              <p:cNvPr id="36" name="TextBox 36"/>
              <p:cNvSpPr txBox="1"/>
              <p:nvPr/>
            </p:nvSpPr>
            <p:spPr>
              <a:xfrm>
                <a:off x="2842368" y="4152958"/>
                <a:ext cx="1290114" cy="428544"/>
              </a:xfrm>
              <a:prstGeom prst="rect">
                <a:avLst/>
              </a:prstGeom>
            </p:spPr>
            <p:txBody>
              <a:bodyPr lIns="0" tIns="0" rIns="0" bIns="0" rtlCol="0" anchor="t">
                <a:spAutoFit/>
              </a:bodyPr>
              <a:lstStyle/>
              <a:p>
                <a:pPr marL="0" lvl="0" indent="0" algn="l">
                  <a:lnSpc>
                    <a:spcPts val="3300"/>
                  </a:lnSpc>
                  <a:spcBef>
                    <a:spcPct val="0"/>
                  </a:spcBef>
                </a:pPr>
                <a:r>
                  <a:rPr lang="en-US" sz="3000" b="1" u="none" strike="noStrike" dirty="0">
                    <a:solidFill>
                      <a:srgbClr val="121722"/>
                    </a:solidFill>
                    <a:latin typeface="Red Hat Display" panose="02010303040201060303" pitchFamily="2" charset="0"/>
                  </a:rPr>
                  <a:t>Work</a:t>
                </a:r>
              </a:p>
            </p:txBody>
          </p:sp>
        </p:grpSp>
        <p:grpSp>
          <p:nvGrpSpPr>
            <p:cNvPr id="47" name="Group 46">
              <a:extLst>
                <a:ext uri="{FF2B5EF4-FFF2-40B4-BE49-F238E27FC236}">
                  <a16:creationId xmlns:a16="http://schemas.microsoft.com/office/drawing/2014/main" id="{85F0CA4C-FCAD-96F1-25BF-C2382C3A44B5}"/>
                </a:ext>
              </a:extLst>
            </p:cNvPr>
            <p:cNvGrpSpPr/>
            <p:nvPr/>
          </p:nvGrpSpPr>
          <p:grpSpPr>
            <a:xfrm>
              <a:off x="691923" y="4158631"/>
              <a:ext cx="1990984" cy="6534769"/>
              <a:chOff x="691923" y="4158631"/>
              <a:chExt cx="1990984" cy="6534769"/>
            </a:xfrm>
          </p:grpSpPr>
          <p:sp>
            <p:nvSpPr>
              <p:cNvPr id="5" name="AutoShape 5"/>
              <p:cNvSpPr/>
              <p:nvPr/>
            </p:nvSpPr>
            <p:spPr>
              <a:xfrm>
                <a:off x="756307" y="4807496"/>
                <a:ext cx="0" cy="5885904"/>
              </a:xfrm>
              <a:prstGeom prst="line">
                <a:avLst/>
              </a:prstGeom>
              <a:ln w="9525" cap="flat">
                <a:solidFill>
                  <a:srgbClr val="121722">
                    <a:alpha val="24706"/>
                  </a:srgbClr>
                </a:solidFill>
                <a:prstDash val="solid"/>
                <a:headEnd type="none" w="sm" len="sm"/>
                <a:tailEnd type="none" w="sm" len="sm"/>
              </a:ln>
            </p:spPr>
            <p:txBody>
              <a:bodyPr/>
              <a:lstStyle/>
              <a:p>
                <a:endParaRPr lang="en-US" dirty="0"/>
              </a:p>
            </p:txBody>
          </p:sp>
          <p:sp>
            <p:nvSpPr>
              <p:cNvPr id="27" name="Freeform 27"/>
              <p:cNvSpPr/>
              <p:nvPr/>
            </p:nvSpPr>
            <p:spPr>
              <a:xfrm>
                <a:off x="691923" y="4740276"/>
                <a:ext cx="128767" cy="128767"/>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C6D70"/>
              </a:solidFill>
              <a:ln cap="sq">
                <a:noFill/>
                <a:prstDash val="solid"/>
                <a:miter/>
              </a:ln>
            </p:spPr>
            <p:txBody>
              <a:bodyPr/>
              <a:lstStyle/>
              <a:p>
                <a:endParaRPr lang="en-US" dirty="0"/>
              </a:p>
            </p:txBody>
          </p:sp>
          <p:grpSp>
            <p:nvGrpSpPr>
              <p:cNvPr id="44" name="Group 43">
                <a:extLst>
                  <a:ext uri="{FF2B5EF4-FFF2-40B4-BE49-F238E27FC236}">
                    <a16:creationId xmlns:a16="http://schemas.microsoft.com/office/drawing/2014/main" id="{6F239CE1-4F79-87D2-0D99-AF9A1EABA36F}"/>
                  </a:ext>
                </a:extLst>
              </p:cNvPr>
              <p:cNvGrpSpPr/>
              <p:nvPr/>
            </p:nvGrpSpPr>
            <p:grpSpPr>
              <a:xfrm>
                <a:off x="756000" y="4158631"/>
                <a:ext cx="1926907" cy="5078771"/>
                <a:chOff x="756000" y="4158631"/>
                <a:chExt cx="1926907" cy="5078771"/>
              </a:xfrm>
            </p:grpSpPr>
            <p:sp>
              <p:nvSpPr>
                <p:cNvPr id="6" name="TextBox 6"/>
                <p:cNvSpPr txBox="1"/>
                <p:nvPr/>
              </p:nvSpPr>
              <p:spPr>
                <a:xfrm>
                  <a:off x="1028026" y="5777111"/>
                  <a:ext cx="1654881" cy="166712"/>
                </a:xfrm>
                <a:prstGeom prst="rect">
                  <a:avLst/>
                </a:prstGeom>
              </p:spPr>
              <p:txBody>
                <a:bodyPr lIns="0" tIns="0" rIns="0" bIns="0" rtlCol="0" anchor="t">
                  <a:spAutoFit/>
                </a:bodyPr>
                <a:lstStyle/>
                <a:p>
                  <a:pPr marL="0" lvl="0" indent="0" algn="l">
                    <a:lnSpc>
                      <a:spcPts val="1254"/>
                    </a:lnSpc>
                    <a:spcBef>
                      <a:spcPct val="0"/>
                    </a:spcBef>
                  </a:pPr>
                  <a:r>
                    <a:rPr lang="en-US" sz="1100" b="1" dirty="0">
                      <a:solidFill>
                        <a:srgbClr val="121722"/>
                      </a:solidFill>
                      <a:latin typeface="Red Hat Display" panose="02010303040201060303" pitchFamily="2" charset="0"/>
                    </a:rPr>
                    <a:t>Set Clear Intentions</a:t>
                  </a:r>
                </a:p>
              </p:txBody>
            </p:sp>
            <p:sp>
              <p:nvSpPr>
                <p:cNvPr id="7" name="TextBox 7"/>
                <p:cNvSpPr txBox="1"/>
                <p:nvPr/>
              </p:nvSpPr>
              <p:spPr>
                <a:xfrm>
                  <a:off x="1028026" y="5994674"/>
                  <a:ext cx="1402603" cy="1126142"/>
                </a:xfrm>
                <a:prstGeom prst="rect">
                  <a:avLst/>
                </a:prstGeom>
              </p:spPr>
              <p:txBody>
                <a:bodyPr lIns="0" tIns="0" rIns="0" bIns="0" rtlCol="0" anchor="t">
                  <a:spAutoFit/>
                </a:bodyPr>
                <a:lstStyle/>
                <a:p>
                  <a:pPr>
                    <a:lnSpc>
                      <a:spcPts val="1079"/>
                    </a:lnSpc>
                  </a:pPr>
                  <a:r>
                    <a:rPr lang="en-US" sz="899" dirty="0">
                      <a:solidFill>
                        <a:srgbClr val="2B2B2B"/>
                      </a:solidFill>
                      <a:latin typeface="DM Sans" pitchFamily="2" charset="0"/>
                    </a:rPr>
                    <a:t>Begin with a purpose. </a:t>
                  </a:r>
                </a:p>
                <a:p>
                  <a:pPr>
                    <a:lnSpc>
                      <a:spcPts val="1079"/>
                    </a:lnSpc>
                  </a:pPr>
                  <a:r>
                    <a:rPr lang="en-US" sz="899" dirty="0">
                      <a:solidFill>
                        <a:srgbClr val="2B2B2B"/>
                      </a:solidFill>
                      <a:latin typeface="DM Sans" pitchFamily="2" charset="0"/>
                    </a:rPr>
                    <a:t>Define your goals succinctly. What do you </a:t>
                  </a:r>
                </a:p>
                <a:p>
                  <a:pPr>
                    <a:lnSpc>
                      <a:spcPts val="1079"/>
                    </a:lnSpc>
                  </a:pPr>
                  <a:r>
                    <a:rPr lang="en-US" sz="899" dirty="0">
                      <a:solidFill>
                        <a:srgbClr val="2B2B2B"/>
                      </a:solidFill>
                      <a:latin typeface="DM Sans" pitchFamily="2" charset="0"/>
                    </a:rPr>
                    <a:t>aim to achieve? Clarity at the outset sharpens focus and propels you into </a:t>
                  </a:r>
                </a:p>
                <a:p>
                  <a:pPr>
                    <a:lnSpc>
                      <a:spcPts val="1079"/>
                    </a:lnSpc>
                  </a:pPr>
                  <a:r>
                    <a:rPr lang="en-US" sz="899" dirty="0">
                      <a:solidFill>
                        <a:srgbClr val="2B2B2B"/>
                      </a:solidFill>
                      <a:latin typeface="DM Sans" pitchFamily="2" charset="0"/>
                    </a:rPr>
                    <a:t>a productive mindset, </a:t>
                  </a:r>
                </a:p>
                <a:p>
                  <a:pPr marL="0" lvl="0" indent="0" algn="l">
                    <a:lnSpc>
                      <a:spcPts val="1079"/>
                    </a:lnSpc>
                    <a:spcBef>
                      <a:spcPct val="0"/>
                    </a:spcBef>
                  </a:pPr>
                  <a:r>
                    <a:rPr lang="en-US" sz="899" dirty="0">
                      <a:solidFill>
                        <a:srgbClr val="2B2B2B"/>
                      </a:solidFill>
                      <a:latin typeface="DM Sans" pitchFamily="2" charset="0"/>
                    </a:rPr>
                    <a:t>ready to conquer tasks</a:t>
                  </a:r>
                </a:p>
              </p:txBody>
            </p:sp>
            <p:sp>
              <p:nvSpPr>
                <p:cNvPr id="8" name="TextBox 8"/>
                <p:cNvSpPr txBox="1"/>
                <p:nvPr/>
              </p:nvSpPr>
              <p:spPr>
                <a:xfrm>
                  <a:off x="1028026" y="7893805"/>
                  <a:ext cx="1627912" cy="166712"/>
                </a:xfrm>
                <a:prstGeom prst="rect">
                  <a:avLst/>
                </a:prstGeom>
              </p:spPr>
              <p:txBody>
                <a:bodyPr lIns="0" tIns="0" rIns="0" bIns="0" rtlCol="0" anchor="t">
                  <a:spAutoFit/>
                </a:bodyPr>
                <a:lstStyle/>
                <a:p>
                  <a:pPr marL="0" lvl="0" indent="0" algn="l">
                    <a:lnSpc>
                      <a:spcPts val="1254"/>
                    </a:lnSpc>
                    <a:spcBef>
                      <a:spcPct val="0"/>
                    </a:spcBef>
                  </a:pPr>
                  <a:r>
                    <a:rPr lang="en-US" sz="1100" b="1" dirty="0">
                      <a:solidFill>
                        <a:srgbClr val="121722"/>
                      </a:solidFill>
                      <a:latin typeface="Red Hat Display" panose="02010303040201060303" pitchFamily="2" charset="0"/>
                    </a:rPr>
                    <a:t>Eliminate Distractions</a:t>
                  </a:r>
                </a:p>
              </p:txBody>
            </p:sp>
            <p:sp>
              <p:nvSpPr>
                <p:cNvPr id="9" name="TextBox 9"/>
                <p:cNvSpPr txBox="1"/>
                <p:nvPr/>
              </p:nvSpPr>
              <p:spPr>
                <a:xfrm>
                  <a:off x="1028026" y="8111260"/>
                  <a:ext cx="1452133" cy="1126142"/>
                </a:xfrm>
                <a:prstGeom prst="rect">
                  <a:avLst/>
                </a:prstGeom>
              </p:spPr>
              <p:txBody>
                <a:bodyPr lIns="0" tIns="0" rIns="0" bIns="0" rtlCol="0" anchor="t">
                  <a:spAutoFit/>
                </a:bodyPr>
                <a:lstStyle/>
                <a:p>
                  <a:pPr>
                    <a:lnSpc>
                      <a:spcPts val="1079"/>
                    </a:lnSpc>
                  </a:pPr>
                  <a:r>
                    <a:rPr lang="en-US" sz="899" dirty="0">
                      <a:solidFill>
                        <a:srgbClr val="2B2B2B"/>
                      </a:solidFill>
                      <a:latin typeface="DM Sans" pitchFamily="2" charset="0"/>
                    </a:rPr>
                    <a:t>Make a good space. Remove disruptions. </a:t>
                  </a:r>
                </a:p>
                <a:p>
                  <a:pPr>
                    <a:lnSpc>
                      <a:spcPts val="1079"/>
                    </a:lnSpc>
                  </a:pPr>
                  <a:r>
                    <a:rPr lang="en-US" sz="899" dirty="0">
                      <a:solidFill>
                        <a:srgbClr val="2B2B2B"/>
                      </a:solidFill>
                      <a:latin typeface="DM Sans" pitchFamily="2" charset="0"/>
                    </a:rPr>
                    <a:t>Quiet notifications, </a:t>
                  </a:r>
                </a:p>
                <a:p>
                  <a:pPr>
                    <a:lnSpc>
                      <a:spcPts val="1079"/>
                    </a:lnSpc>
                  </a:pPr>
                  <a:r>
                    <a:rPr lang="en-US" sz="899" dirty="0">
                      <a:solidFill>
                        <a:srgbClr val="2B2B2B"/>
                      </a:solidFill>
                      <a:latin typeface="DM Sans" pitchFamily="2" charset="0"/>
                    </a:rPr>
                    <a:t>close extra tabs. Unplug from distractions. Start work with full focus </a:t>
                  </a:r>
                </a:p>
                <a:p>
                  <a:pPr marL="0" lvl="0" indent="0" algn="l">
                    <a:lnSpc>
                      <a:spcPts val="1079"/>
                    </a:lnSpc>
                    <a:spcBef>
                      <a:spcPct val="0"/>
                    </a:spcBef>
                  </a:pPr>
                  <a:r>
                    <a:rPr lang="en-US" sz="899" dirty="0">
                      <a:solidFill>
                        <a:srgbClr val="2B2B2B"/>
                      </a:solidFill>
                      <a:latin typeface="DM Sans" pitchFamily="2" charset="0"/>
                    </a:rPr>
                    <a:t>and efficiency in your undistracted environment</a:t>
                  </a:r>
                </a:p>
              </p:txBody>
            </p:sp>
            <p:sp>
              <p:nvSpPr>
                <p:cNvPr id="14" name="TextBox 14"/>
                <p:cNvSpPr txBox="1"/>
                <p:nvPr/>
              </p:nvSpPr>
              <p:spPr>
                <a:xfrm>
                  <a:off x="1028026" y="5441584"/>
                  <a:ext cx="1311487" cy="269369"/>
                </a:xfrm>
                <a:prstGeom prst="rect">
                  <a:avLst/>
                </a:prstGeom>
              </p:spPr>
              <p:txBody>
                <a:bodyPr lIns="0" tIns="0" rIns="0" bIns="0" rtlCol="0" anchor="t">
                  <a:spAutoFit/>
                </a:bodyPr>
                <a:lstStyle/>
                <a:p>
                  <a:pPr marL="0" lvl="0" indent="0" algn="l">
                    <a:lnSpc>
                      <a:spcPts val="2089"/>
                    </a:lnSpc>
                    <a:spcBef>
                      <a:spcPct val="0"/>
                    </a:spcBef>
                  </a:pPr>
                  <a:r>
                    <a:rPr lang="en-US" sz="1899" b="1" dirty="0">
                      <a:solidFill>
                        <a:srgbClr val="121722"/>
                      </a:solidFill>
                      <a:latin typeface="Red Hat Display" panose="02010303040201060303" pitchFamily="2" charset="0"/>
                    </a:rPr>
                    <a:t>01</a:t>
                  </a:r>
                </a:p>
              </p:txBody>
            </p:sp>
            <p:sp>
              <p:nvSpPr>
                <p:cNvPr id="15" name="TextBox 15"/>
                <p:cNvSpPr txBox="1"/>
                <p:nvPr/>
              </p:nvSpPr>
              <p:spPr>
                <a:xfrm>
                  <a:off x="1028026" y="7558203"/>
                  <a:ext cx="1290114" cy="269369"/>
                </a:xfrm>
                <a:prstGeom prst="rect">
                  <a:avLst/>
                </a:prstGeom>
              </p:spPr>
              <p:txBody>
                <a:bodyPr lIns="0" tIns="0" rIns="0" bIns="0" rtlCol="0" anchor="t">
                  <a:spAutoFit/>
                </a:bodyPr>
                <a:lstStyle/>
                <a:p>
                  <a:pPr marL="0" lvl="0" indent="0" algn="l">
                    <a:lnSpc>
                      <a:spcPts val="2089"/>
                    </a:lnSpc>
                    <a:spcBef>
                      <a:spcPct val="0"/>
                    </a:spcBef>
                  </a:pPr>
                  <a:r>
                    <a:rPr lang="en-US" sz="1899" b="1" dirty="0">
                      <a:solidFill>
                        <a:srgbClr val="121722"/>
                      </a:solidFill>
                      <a:latin typeface="Red Hat Display" panose="02010303040201060303" pitchFamily="2" charset="0"/>
                    </a:rPr>
                    <a:t>02</a:t>
                  </a:r>
                </a:p>
              </p:txBody>
            </p:sp>
            <p:sp>
              <p:nvSpPr>
                <p:cNvPr id="35" name="TextBox 35"/>
                <p:cNvSpPr txBox="1"/>
                <p:nvPr/>
              </p:nvSpPr>
              <p:spPr>
                <a:xfrm>
                  <a:off x="756000" y="4158631"/>
                  <a:ext cx="1190384" cy="428544"/>
                </a:xfrm>
                <a:prstGeom prst="rect">
                  <a:avLst/>
                </a:prstGeom>
              </p:spPr>
              <p:txBody>
                <a:bodyPr lIns="0" tIns="0" rIns="0" bIns="0" rtlCol="0" anchor="t">
                  <a:spAutoFit/>
                </a:bodyPr>
                <a:lstStyle/>
                <a:p>
                  <a:pPr marL="0" lvl="0" indent="0" algn="l">
                    <a:lnSpc>
                      <a:spcPts val="3300"/>
                    </a:lnSpc>
                    <a:spcBef>
                      <a:spcPct val="0"/>
                    </a:spcBef>
                  </a:pPr>
                  <a:r>
                    <a:rPr lang="en-US" sz="3000" b="1" u="none" strike="noStrike" dirty="0">
                      <a:solidFill>
                        <a:srgbClr val="121722"/>
                      </a:solidFill>
                      <a:latin typeface="Red Hat Display" panose="02010303040201060303" pitchFamily="2" charset="0"/>
                    </a:rPr>
                    <a:t>Start</a:t>
                  </a:r>
                </a:p>
              </p:txBody>
            </p:sp>
          </p:grpSp>
        </p:grpSp>
        <p:grpSp>
          <p:nvGrpSpPr>
            <p:cNvPr id="40" name="Group 39">
              <a:extLst>
                <a:ext uri="{FF2B5EF4-FFF2-40B4-BE49-F238E27FC236}">
                  <a16:creationId xmlns:a16="http://schemas.microsoft.com/office/drawing/2014/main" id="{0AC8484D-E35D-BB48-5C5B-EC666D7377FB}"/>
                </a:ext>
              </a:extLst>
            </p:cNvPr>
            <p:cNvGrpSpPr/>
            <p:nvPr/>
          </p:nvGrpSpPr>
          <p:grpSpPr>
            <a:xfrm>
              <a:off x="756000" y="1658751"/>
              <a:ext cx="6097073" cy="1041809"/>
              <a:chOff x="756000" y="1658751"/>
              <a:chExt cx="6097073" cy="1041809"/>
            </a:xfrm>
          </p:grpSpPr>
          <p:sp>
            <p:nvSpPr>
              <p:cNvPr id="38" name="TextBox 38"/>
              <p:cNvSpPr txBox="1"/>
              <p:nvPr/>
            </p:nvSpPr>
            <p:spPr>
              <a:xfrm>
                <a:off x="805073" y="2308130"/>
                <a:ext cx="6048000" cy="392430"/>
              </a:xfrm>
              <a:prstGeom prst="rect">
                <a:avLst/>
              </a:prstGeom>
            </p:spPr>
            <p:txBody>
              <a:bodyPr lIns="0" tIns="0" rIns="0" bIns="0" rtlCol="0" anchor="t">
                <a:spAutoFit/>
              </a:bodyPr>
              <a:lstStyle/>
              <a:p>
                <a:pPr>
                  <a:lnSpc>
                    <a:spcPts val="1500"/>
                  </a:lnSpc>
                </a:pPr>
                <a:r>
                  <a:rPr lang="en-US" sz="1200" dirty="0">
                    <a:solidFill>
                      <a:srgbClr val="2B2B2B"/>
                    </a:solidFill>
                    <a:latin typeface="DM Sans" pitchFamily="2" charset="0"/>
                  </a:rPr>
                  <a:t>These are things you need to keep in mind while working </a:t>
                </a:r>
              </a:p>
              <a:p>
                <a:pPr marL="0" lvl="0" indent="0" algn="l">
                  <a:lnSpc>
                    <a:spcPts val="1500"/>
                  </a:lnSpc>
                </a:pPr>
                <a:r>
                  <a:rPr lang="en-US" sz="1200" dirty="0">
                    <a:solidFill>
                      <a:srgbClr val="2B2B2B"/>
                    </a:solidFill>
                    <a:latin typeface="DM Sans" pitchFamily="2" charset="0"/>
                  </a:rPr>
                  <a:t>to make time management more effective</a:t>
                </a:r>
              </a:p>
            </p:txBody>
          </p:sp>
          <p:sp>
            <p:nvSpPr>
              <p:cNvPr id="3" name="TextBox 3"/>
              <p:cNvSpPr txBox="1"/>
              <p:nvPr/>
            </p:nvSpPr>
            <p:spPr>
              <a:xfrm>
                <a:off x="756000" y="1658751"/>
                <a:ext cx="5061676" cy="544058"/>
              </a:xfrm>
              <a:prstGeom prst="rect">
                <a:avLst/>
              </a:prstGeom>
            </p:spPr>
            <p:txBody>
              <a:bodyPr lIns="0" tIns="0" rIns="0" bIns="0" rtlCol="0" anchor="t">
                <a:spAutoFit/>
              </a:bodyPr>
              <a:lstStyle/>
              <a:p>
                <a:pPr marL="0" lvl="0" indent="0" algn="l">
                  <a:lnSpc>
                    <a:spcPts val="4227"/>
                  </a:lnSpc>
                  <a:spcBef>
                    <a:spcPct val="0"/>
                  </a:spcBef>
                </a:pPr>
                <a:r>
                  <a:rPr lang="en-US" sz="3850" b="1" dirty="0">
                    <a:solidFill>
                      <a:srgbClr val="121722"/>
                    </a:solidFill>
                    <a:latin typeface="Red Hat Display" panose="02010303040201060303" pitchFamily="2" charset="0"/>
                  </a:rPr>
                  <a:t>Time Management</a:t>
                </a:r>
              </a:p>
            </p:txBody>
          </p:sp>
        </p:grpSp>
        <p:grpSp>
          <p:nvGrpSpPr>
            <p:cNvPr id="29" name="Group 28">
              <a:extLst>
                <a:ext uri="{FF2B5EF4-FFF2-40B4-BE49-F238E27FC236}">
                  <a16:creationId xmlns:a16="http://schemas.microsoft.com/office/drawing/2014/main" id="{28D8AA8A-62F9-1D10-C550-167DE243F38D}"/>
                </a:ext>
              </a:extLst>
            </p:cNvPr>
            <p:cNvGrpSpPr/>
            <p:nvPr/>
          </p:nvGrpSpPr>
          <p:grpSpPr>
            <a:xfrm>
              <a:off x="756000" y="756000"/>
              <a:ext cx="6048000" cy="462217"/>
              <a:chOff x="756000" y="756000"/>
              <a:chExt cx="6048000" cy="462217"/>
            </a:xfrm>
          </p:grpSpPr>
          <p:sp>
            <p:nvSpPr>
              <p:cNvPr id="41" name="TextBox 41"/>
              <p:cNvSpPr txBox="1"/>
              <p:nvPr/>
            </p:nvSpPr>
            <p:spPr>
              <a:xfrm>
                <a:off x="4420388" y="797396"/>
                <a:ext cx="2383612" cy="420821"/>
              </a:xfrm>
              <a:prstGeom prst="rect">
                <a:avLst/>
              </a:prstGeom>
            </p:spPr>
            <p:txBody>
              <a:bodyPr lIns="0" tIns="0" rIns="0" bIns="0" rtlCol="0" anchor="t">
                <a:spAutoFit/>
              </a:bodyPr>
              <a:lstStyle/>
              <a:p>
                <a:pPr algn="r">
                  <a:lnSpc>
                    <a:spcPts val="1079"/>
                  </a:lnSpc>
                </a:pPr>
                <a:r>
                  <a:rPr lang="en-US" sz="899" dirty="0">
                    <a:solidFill>
                      <a:srgbClr val="121722"/>
                    </a:solidFill>
                    <a:latin typeface="DM Sans" pitchFamily="2" charset="0"/>
                  </a:rPr>
                  <a:t>123 Anywhere St., Any City</a:t>
                </a:r>
              </a:p>
              <a:p>
                <a:pPr algn="r">
                  <a:lnSpc>
                    <a:spcPts val="1079"/>
                  </a:lnSpc>
                </a:pPr>
                <a:r>
                  <a:rPr lang="en-US" sz="899" dirty="0">
                    <a:solidFill>
                      <a:srgbClr val="121722"/>
                    </a:solidFill>
                    <a:latin typeface="DM Sans" pitchFamily="2" charset="0"/>
                  </a:rPr>
                  <a:t>+123-456-7890</a:t>
                </a:r>
              </a:p>
              <a:p>
                <a:pPr algn="r">
                  <a:lnSpc>
                    <a:spcPts val="1079"/>
                  </a:lnSpc>
                </a:pPr>
                <a:r>
                  <a:rPr lang="en-US" sz="899" dirty="0">
                    <a:solidFill>
                      <a:srgbClr val="121722"/>
                    </a:solidFill>
                    <a:latin typeface="DM Sans" pitchFamily="2" charset="0"/>
                  </a:rPr>
                  <a:t>www.Quirkifystudio.com</a:t>
                </a:r>
              </a:p>
            </p:txBody>
          </p:sp>
          <p:sp>
            <p:nvSpPr>
              <p:cNvPr id="42" name="Freeform 42"/>
              <p:cNvSpPr/>
              <p:nvPr/>
            </p:nvSpPr>
            <p:spPr>
              <a:xfrm>
                <a:off x="756000" y="756000"/>
                <a:ext cx="427680" cy="427680"/>
              </a:xfrm>
              <a:custGeom>
                <a:avLst/>
                <a:gdLst/>
                <a:ahLst/>
                <a:cxnLst/>
                <a:rect l="l" t="t" r="r" b="b"/>
                <a:pathLst>
                  <a:path w="570240" h="570240">
                    <a:moveTo>
                      <a:pt x="0" y="0"/>
                    </a:moveTo>
                    <a:lnTo>
                      <a:pt x="570240" y="0"/>
                    </a:lnTo>
                    <a:lnTo>
                      <a:pt x="570240" y="570240"/>
                    </a:lnTo>
                    <a:lnTo>
                      <a:pt x="0" y="57024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dirty="0"/>
              </a:p>
            </p:txBody>
          </p:sp>
          <p:sp>
            <p:nvSpPr>
              <p:cNvPr id="43" name="TextBox 43"/>
              <p:cNvSpPr txBox="1"/>
              <p:nvPr/>
            </p:nvSpPr>
            <p:spPr>
              <a:xfrm>
                <a:off x="1346075" y="756000"/>
                <a:ext cx="1191707" cy="461665"/>
              </a:xfrm>
              <a:prstGeom prst="rect">
                <a:avLst/>
              </a:prstGeom>
            </p:spPr>
            <p:txBody>
              <a:bodyPr lIns="0" tIns="0" rIns="0" bIns="0" rtlCol="0" anchor="t">
                <a:spAutoFit/>
              </a:bodyPr>
              <a:lstStyle/>
              <a:p>
                <a:pPr>
                  <a:lnSpc>
                    <a:spcPts val="1817"/>
                  </a:lnSpc>
                </a:pPr>
                <a:r>
                  <a:rPr lang="en-US" sz="1502" b="1" dirty="0">
                    <a:solidFill>
                      <a:srgbClr val="121722"/>
                    </a:solidFill>
                    <a:latin typeface="Red Hat Display" panose="02010303040201060303" pitchFamily="2" charset="0"/>
                  </a:rPr>
                  <a:t>QUIRKIFY </a:t>
                </a:r>
              </a:p>
              <a:p>
                <a:pPr>
                  <a:lnSpc>
                    <a:spcPts val="1817"/>
                  </a:lnSpc>
                </a:pPr>
                <a:r>
                  <a:rPr lang="en-US" sz="1502" b="1" dirty="0">
                    <a:solidFill>
                      <a:srgbClr val="121722"/>
                    </a:solidFill>
                    <a:latin typeface="Red Hat Display" panose="02010303040201060303" pitchFamily="2" charset="0"/>
                  </a:rPr>
                  <a:t>STUDIO</a:t>
                </a:r>
              </a:p>
            </p:txBody>
          </p:sp>
        </p:grpSp>
        <p:sp>
          <p:nvSpPr>
            <p:cNvPr id="39" name="TemplateLAB"/>
            <p:cNvSpPr/>
            <p:nvPr/>
          </p:nvSpPr>
          <p:spPr>
            <a:xfrm>
              <a:off x="1028026" y="10042856"/>
              <a:ext cx="732059" cy="120790"/>
            </a:xfrm>
            <a:custGeom>
              <a:avLst/>
              <a:gdLst/>
              <a:ahLst/>
              <a:cxnLst/>
              <a:rect l="l" t="t" r="r" b="b"/>
              <a:pathLst>
                <a:path w="732059" h="120790">
                  <a:moveTo>
                    <a:pt x="0" y="0"/>
                  </a:moveTo>
                  <a:lnTo>
                    <a:pt x="732059" y="0"/>
                  </a:lnTo>
                  <a:lnTo>
                    <a:pt x="732059" y="120790"/>
                  </a:lnTo>
                  <a:lnTo>
                    <a:pt x="0" y="12079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dirty="0"/>
            </a:p>
          </p:txBody>
        </p:sp>
      </p:grpSp>
    </p:spTree>
    <p:custDataLst>
      <p:tags r:id="rId1"/>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21722"/>
        </a:solidFill>
        <a:effectLst/>
      </p:bgPr>
    </p:bg>
    <p:spTree>
      <p:nvGrpSpPr>
        <p:cNvPr id="1" name=""/>
        <p:cNvGrpSpPr/>
        <p:nvPr/>
      </p:nvGrpSpPr>
      <p:grpSpPr>
        <a:xfrm>
          <a:off x="0" y="0"/>
          <a:ext cx="0" cy="0"/>
          <a:chOff x="0" y="0"/>
          <a:chExt cx="0" cy="0"/>
        </a:xfrm>
      </p:grpSpPr>
      <p:grpSp>
        <p:nvGrpSpPr>
          <p:cNvPr id="15" name="Group 7 - Page 8">
            <a:extLst>
              <a:ext uri="{FF2B5EF4-FFF2-40B4-BE49-F238E27FC236}">
                <a16:creationId xmlns:a16="http://schemas.microsoft.com/office/drawing/2014/main" id="{394974E6-5DC4-CCCE-D053-787CD24774C4}"/>
              </a:ext>
            </a:extLst>
          </p:cNvPr>
          <p:cNvGrpSpPr/>
          <p:nvPr/>
        </p:nvGrpSpPr>
        <p:grpSpPr>
          <a:xfrm>
            <a:off x="756000" y="727425"/>
            <a:ext cx="6048000" cy="9436221"/>
            <a:chOff x="756000" y="727425"/>
            <a:chExt cx="6048000" cy="9436221"/>
          </a:xfrm>
        </p:grpSpPr>
        <p:sp>
          <p:nvSpPr>
            <p:cNvPr id="3" name="Freeform 3"/>
            <p:cNvSpPr/>
            <p:nvPr/>
          </p:nvSpPr>
          <p:spPr>
            <a:xfrm>
              <a:off x="756000" y="6623024"/>
              <a:ext cx="898076" cy="898076"/>
            </a:xfrm>
            <a:custGeom>
              <a:avLst/>
              <a:gdLst/>
              <a:ahLst/>
              <a:cxnLst/>
              <a:rect l="l" t="t" r="r" b="b"/>
              <a:pathLst>
                <a:path w="1197435" h="1197435">
                  <a:moveTo>
                    <a:pt x="0" y="0"/>
                  </a:moveTo>
                  <a:lnTo>
                    <a:pt x="1197435" y="0"/>
                  </a:lnTo>
                  <a:lnTo>
                    <a:pt x="1197435" y="1197435"/>
                  </a:lnTo>
                  <a:lnTo>
                    <a:pt x="0" y="119743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dirty="0"/>
            </a:p>
          </p:txBody>
        </p:sp>
        <p:sp>
          <p:nvSpPr>
            <p:cNvPr id="4" name="TextBox 4"/>
            <p:cNvSpPr txBox="1"/>
            <p:nvPr/>
          </p:nvSpPr>
          <p:spPr>
            <a:xfrm>
              <a:off x="756000" y="7773012"/>
              <a:ext cx="6048000" cy="2162988"/>
            </a:xfrm>
            <a:prstGeom prst="rect">
              <a:avLst/>
            </a:prstGeom>
          </p:spPr>
          <p:txBody>
            <a:bodyPr lIns="0" tIns="0" rIns="0" bIns="0" rtlCol="0" anchor="t">
              <a:spAutoFit/>
            </a:bodyPr>
            <a:lstStyle/>
            <a:p>
              <a:pPr>
                <a:lnSpc>
                  <a:spcPts val="8199"/>
                </a:lnSpc>
              </a:pPr>
              <a:r>
                <a:rPr lang="en-US" sz="8199" b="1" dirty="0">
                  <a:solidFill>
                    <a:srgbClr val="FFFFFF"/>
                  </a:solidFill>
                  <a:latin typeface="Red Hat Display" panose="02010303040201060303" pitchFamily="2" charset="0"/>
                </a:rPr>
                <a:t>Quirkify </a:t>
              </a:r>
            </a:p>
            <a:p>
              <a:pPr marL="0" lvl="0" indent="0">
                <a:lnSpc>
                  <a:spcPts val="8199"/>
                </a:lnSpc>
                <a:spcBef>
                  <a:spcPct val="0"/>
                </a:spcBef>
              </a:pPr>
              <a:r>
                <a:rPr lang="en-US" sz="8199" b="1" dirty="0">
                  <a:solidFill>
                    <a:srgbClr val="FFFFFF"/>
                  </a:solidFill>
                  <a:latin typeface="Red Hat Display" panose="02010303040201060303" pitchFamily="2" charset="0"/>
                </a:rPr>
                <a:t>studio</a:t>
              </a:r>
            </a:p>
          </p:txBody>
        </p:sp>
        <p:grpSp>
          <p:nvGrpSpPr>
            <p:cNvPr id="14" name="Group 13">
              <a:extLst>
                <a:ext uri="{FF2B5EF4-FFF2-40B4-BE49-F238E27FC236}">
                  <a16:creationId xmlns:a16="http://schemas.microsoft.com/office/drawing/2014/main" id="{B834A105-EA5F-A5DC-173A-CE3BF0AA909E}"/>
                </a:ext>
              </a:extLst>
            </p:cNvPr>
            <p:cNvGrpSpPr/>
            <p:nvPr/>
          </p:nvGrpSpPr>
          <p:grpSpPr>
            <a:xfrm>
              <a:off x="756000" y="727425"/>
              <a:ext cx="6048000" cy="1301274"/>
              <a:chOff x="756000" y="727425"/>
              <a:chExt cx="6048000" cy="1301274"/>
            </a:xfrm>
          </p:grpSpPr>
          <p:sp>
            <p:nvSpPr>
              <p:cNvPr id="5" name="TextBox 5"/>
              <p:cNvSpPr txBox="1"/>
              <p:nvPr/>
            </p:nvSpPr>
            <p:spPr>
              <a:xfrm>
                <a:off x="756000" y="727425"/>
                <a:ext cx="1995660" cy="209609"/>
              </a:xfrm>
              <a:prstGeom prst="rect">
                <a:avLst/>
              </a:prstGeom>
            </p:spPr>
            <p:txBody>
              <a:bodyPr lIns="0" tIns="0" rIns="0" bIns="0" rtlCol="0" anchor="t">
                <a:spAutoFit/>
              </a:bodyPr>
              <a:lstStyle/>
              <a:p>
                <a:pPr marL="0" lvl="0" indent="0">
                  <a:lnSpc>
                    <a:spcPts val="1680"/>
                  </a:lnSpc>
                </a:pPr>
                <a:r>
                  <a:rPr lang="en-US" sz="1300" dirty="0">
                    <a:solidFill>
                      <a:srgbClr val="D1FF95"/>
                    </a:solidFill>
                    <a:latin typeface="Red Hat Display"/>
                  </a:rPr>
                  <a:t>Location</a:t>
                </a:r>
              </a:p>
            </p:txBody>
          </p:sp>
          <p:sp>
            <p:nvSpPr>
              <p:cNvPr id="6" name="TextBox 6"/>
              <p:cNvSpPr txBox="1"/>
              <p:nvPr/>
            </p:nvSpPr>
            <p:spPr>
              <a:xfrm>
                <a:off x="756000" y="997419"/>
                <a:ext cx="2833877" cy="220345"/>
              </a:xfrm>
              <a:prstGeom prst="rect">
                <a:avLst/>
              </a:prstGeom>
            </p:spPr>
            <p:txBody>
              <a:bodyPr lIns="0" tIns="0" rIns="0" bIns="0" rtlCol="0" anchor="t">
                <a:spAutoFit/>
              </a:bodyPr>
              <a:lstStyle/>
              <a:p>
                <a:pPr marL="0" lvl="0" indent="0" algn="l">
                  <a:lnSpc>
                    <a:spcPts val="1820"/>
                  </a:lnSpc>
                  <a:spcBef>
                    <a:spcPct val="0"/>
                  </a:spcBef>
                </a:pPr>
                <a:r>
                  <a:rPr lang="en-US" sz="1400" u="none" strike="noStrike" dirty="0">
                    <a:solidFill>
                      <a:srgbClr val="FFFFFF"/>
                    </a:solidFill>
                    <a:latin typeface="Red Hat Display"/>
                  </a:rPr>
                  <a:t>123 Anywhere St., Any City</a:t>
                </a:r>
              </a:p>
            </p:txBody>
          </p:sp>
          <p:sp>
            <p:nvSpPr>
              <p:cNvPr id="7" name="TextBox 7"/>
              <p:cNvSpPr txBox="1"/>
              <p:nvPr/>
            </p:nvSpPr>
            <p:spPr>
              <a:xfrm>
                <a:off x="756000" y="1538360"/>
                <a:ext cx="1995660" cy="209609"/>
              </a:xfrm>
              <a:prstGeom prst="rect">
                <a:avLst/>
              </a:prstGeom>
            </p:spPr>
            <p:txBody>
              <a:bodyPr lIns="0" tIns="0" rIns="0" bIns="0" rtlCol="0" anchor="t">
                <a:spAutoFit/>
              </a:bodyPr>
              <a:lstStyle/>
              <a:p>
                <a:pPr marL="0" lvl="0" indent="0">
                  <a:lnSpc>
                    <a:spcPts val="1680"/>
                  </a:lnSpc>
                </a:pPr>
                <a:r>
                  <a:rPr lang="en-US" sz="1300" dirty="0">
                    <a:solidFill>
                      <a:srgbClr val="D1FF95"/>
                    </a:solidFill>
                    <a:latin typeface="Red Hat Display"/>
                  </a:rPr>
                  <a:t>Hotline</a:t>
                </a:r>
              </a:p>
            </p:txBody>
          </p:sp>
          <p:sp>
            <p:nvSpPr>
              <p:cNvPr id="8" name="TextBox 8"/>
              <p:cNvSpPr txBox="1"/>
              <p:nvPr/>
            </p:nvSpPr>
            <p:spPr>
              <a:xfrm>
                <a:off x="756000" y="1808354"/>
                <a:ext cx="2833877" cy="220345"/>
              </a:xfrm>
              <a:prstGeom prst="rect">
                <a:avLst/>
              </a:prstGeom>
            </p:spPr>
            <p:txBody>
              <a:bodyPr lIns="0" tIns="0" rIns="0" bIns="0" rtlCol="0" anchor="t">
                <a:spAutoFit/>
              </a:bodyPr>
              <a:lstStyle/>
              <a:p>
                <a:pPr marL="0" lvl="0" indent="0" algn="l">
                  <a:lnSpc>
                    <a:spcPts val="1820"/>
                  </a:lnSpc>
                  <a:spcBef>
                    <a:spcPct val="0"/>
                  </a:spcBef>
                </a:pPr>
                <a:r>
                  <a:rPr lang="en-US" sz="1400" u="none" strike="noStrike" dirty="0">
                    <a:solidFill>
                      <a:srgbClr val="FFFFFF"/>
                    </a:solidFill>
                    <a:latin typeface="Red Hat Display"/>
                  </a:rPr>
                  <a:t>+123-456-7890</a:t>
                </a:r>
              </a:p>
            </p:txBody>
          </p:sp>
          <p:sp>
            <p:nvSpPr>
              <p:cNvPr id="9" name="TextBox 9"/>
              <p:cNvSpPr txBox="1"/>
              <p:nvPr/>
            </p:nvSpPr>
            <p:spPr>
              <a:xfrm>
                <a:off x="4248085" y="727425"/>
                <a:ext cx="1799915" cy="224006"/>
              </a:xfrm>
              <a:prstGeom prst="rect">
                <a:avLst/>
              </a:prstGeom>
            </p:spPr>
            <p:txBody>
              <a:bodyPr lIns="0" tIns="0" rIns="0" bIns="0" rtlCol="0" anchor="t">
                <a:spAutoFit/>
              </a:bodyPr>
              <a:lstStyle/>
              <a:p>
                <a:pPr marL="0" lvl="0" indent="0">
                  <a:lnSpc>
                    <a:spcPts val="1820"/>
                  </a:lnSpc>
                </a:pPr>
                <a:r>
                  <a:rPr lang="en-US" sz="1300" dirty="0">
                    <a:solidFill>
                      <a:srgbClr val="D1FF95"/>
                    </a:solidFill>
                    <a:latin typeface="Red Hat Display"/>
                  </a:rPr>
                  <a:t>Website</a:t>
                </a:r>
              </a:p>
            </p:txBody>
          </p:sp>
          <p:sp>
            <p:nvSpPr>
              <p:cNvPr id="10" name="TextBox 10"/>
              <p:cNvSpPr txBox="1"/>
              <p:nvPr/>
            </p:nvSpPr>
            <p:spPr>
              <a:xfrm>
                <a:off x="4248085" y="997419"/>
                <a:ext cx="2555915" cy="220345"/>
              </a:xfrm>
              <a:prstGeom prst="rect">
                <a:avLst/>
              </a:prstGeom>
            </p:spPr>
            <p:txBody>
              <a:bodyPr lIns="0" tIns="0" rIns="0" bIns="0" rtlCol="0" anchor="t">
                <a:spAutoFit/>
              </a:bodyPr>
              <a:lstStyle/>
              <a:p>
                <a:pPr marL="0" lvl="0" indent="0" algn="l">
                  <a:lnSpc>
                    <a:spcPts val="1820"/>
                  </a:lnSpc>
                  <a:spcBef>
                    <a:spcPct val="0"/>
                  </a:spcBef>
                </a:pPr>
                <a:r>
                  <a:rPr lang="en-US" sz="1400" u="none" strike="noStrike" dirty="0">
                    <a:solidFill>
                      <a:srgbClr val="FFFFFF"/>
                    </a:solidFill>
                    <a:latin typeface="Red Hat Display"/>
                  </a:rPr>
                  <a:t>www.Quirkifystudio.com</a:t>
                </a:r>
              </a:p>
            </p:txBody>
          </p:sp>
          <p:sp>
            <p:nvSpPr>
              <p:cNvPr id="11" name="TextBox 11"/>
              <p:cNvSpPr txBox="1"/>
              <p:nvPr/>
            </p:nvSpPr>
            <p:spPr>
              <a:xfrm>
                <a:off x="4248085" y="1538360"/>
                <a:ext cx="1799915" cy="224006"/>
              </a:xfrm>
              <a:prstGeom prst="rect">
                <a:avLst/>
              </a:prstGeom>
            </p:spPr>
            <p:txBody>
              <a:bodyPr lIns="0" tIns="0" rIns="0" bIns="0" rtlCol="0" anchor="t">
                <a:spAutoFit/>
              </a:bodyPr>
              <a:lstStyle/>
              <a:p>
                <a:pPr marL="0" lvl="0" indent="0">
                  <a:lnSpc>
                    <a:spcPts val="1820"/>
                  </a:lnSpc>
                </a:pPr>
                <a:r>
                  <a:rPr lang="en-US" sz="1300" dirty="0">
                    <a:solidFill>
                      <a:srgbClr val="D1FF95"/>
                    </a:solidFill>
                    <a:latin typeface="Red Hat Display"/>
                  </a:rPr>
                  <a:t>Facebook</a:t>
                </a:r>
              </a:p>
            </p:txBody>
          </p:sp>
          <p:sp>
            <p:nvSpPr>
              <p:cNvPr id="12" name="TextBox 12"/>
              <p:cNvSpPr txBox="1"/>
              <p:nvPr/>
            </p:nvSpPr>
            <p:spPr>
              <a:xfrm>
                <a:off x="4248085" y="1808354"/>
                <a:ext cx="2555915" cy="220345"/>
              </a:xfrm>
              <a:prstGeom prst="rect">
                <a:avLst/>
              </a:prstGeom>
            </p:spPr>
            <p:txBody>
              <a:bodyPr lIns="0" tIns="0" rIns="0" bIns="0" rtlCol="0" anchor="t">
                <a:spAutoFit/>
              </a:bodyPr>
              <a:lstStyle/>
              <a:p>
                <a:pPr marL="0" lvl="0" indent="0" algn="l">
                  <a:lnSpc>
                    <a:spcPts val="1820"/>
                  </a:lnSpc>
                  <a:spcBef>
                    <a:spcPct val="0"/>
                  </a:spcBef>
                </a:pPr>
                <a:r>
                  <a:rPr lang="en-US" sz="1400" u="none" strike="noStrike" dirty="0">
                    <a:solidFill>
                      <a:srgbClr val="FFFFFF"/>
                    </a:solidFill>
                    <a:latin typeface="Red Hat Display"/>
                  </a:rPr>
                  <a:t>Quirkifystudio Official</a:t>
                </a:r>
              </a:p>
            </p:txBody>
          </p:sp>
        </p:grpSp>
        <p:sp>
          <p:nvSpPr>
            <p:cNvPr id="13" name="TemplateLAB"/>
            <p:cNvSpPr/>
            <p:nvPr/>
          </p:nvSpPr>
          <p:spPr>
            <a:xfrm>
              <a:off x="6071941" y="10042856"/>
              <a:ext cx="732059" cy="120790"/>
            </a:xfrm>
            <a:custGeom>
              <a:avLst/>
              <a:gdLst/>
              <a:ahLst/>
              <a:cxnLst/>
              <a:rect l="l" t="t" r="r" b="b"/>
              <a:pathLst>
                <a:path w="732059" h="120790">
                  <a:moveTo>
                    <a:pt x="0" y="0"/>
                  </a:moveTo>
                  <a:lnTo>
                    <a:pt x="732059" y="0"/>
                  </a:lnTo>
                  <a:lnTo>
                    <a:pt x="732059" y="120790"/>
                  </a:lnTo>
                  <a:lnTo>
                    <a:pt x="0" y="12079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dirty="0"/>
            </a:p>
          </p:txBody>
        </p:sp>
      </p:grpSp>
    </p:spTree>
    <p:custDataLst>
      <p:tags r:id="rId1"/>
    </p:custData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91</TotalTime>
  <Words>1123</Words>
  <Application>Microsoft Office PowerPoint</Application>
  <PresentationFormat>Custom</PresentationFormat>
  <Paragraphs>173</Paragraphs>
  <Slides>8</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8</vt:i4>
      </vt:variant>
    </vt:vector>
  </HeadingPairs>
  <TitlesOfParts>
    <vt:vector size="14" baseType="lpstr">
      <vt:lpstr>DM Sans</vt:lpstr>
      <vt:lpstr>Poppins</vt:lpstr>
      <vt:lpstr>Red Hat Display</vt:lpstr>
      <vt:lpstr>Arial</vt:lpstr>
      <vt:lpstr>Calibri</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py of Booklet template</dc:title>
  <dc:creator>Hoang Anh</dc:creator>
  <cp:lastModifiedBy>Hoang Anh</cp:lastModifiedBy>
  <cp:revision>14</cp:revision>
  <dcterms:created xsi:type="dcterms:W3CDTF">2006-08-16T00:00:00Z</dcterms:created>
  <dcterms:modified xsi:type="dcterms:W3CDTF">2023-12-17T04:01:23Z</dcterms:modified>
  <dc:identifier>DAF2xnUbmvk</dc:identifier>
</cp:coreProperties>
</file>